
<file path=[Content_Types].xml><?xml version="1.0" encoding="utf-8"?>
<Types xmlns="http://schemas.openxmlformats.org/package/2006/content-types">
  <Override PartName="/ppt/slideLayouts/slideLayout57.xml" ContentType="application/vnd.openxmlformats-officedocument.presentationml.slideLayout+xml"/>
  <Override PartName="/ppt/tags/tag8.xml" ContentType="application/vnd.openxmlformats-officedocument.presentationml.tags+xml"/>
  <Override PartName="/ppt/theme/themeOverride12.xml" ContentType="application/vnd.openxmlformats-officedocument.themeOverride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ags/tag4.xml" ContentType="application/vnd.openxmlformats-officedocument.presentationml.tags+xml"/>
  <Override PartName="/ppt/theme/themeOverride5.xml" ContentType="application/vnd.openxmlformats-officedocument.themeOverr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53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Default Extension="fntdata" ContentType="application/x-fontdata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Override1.xml" ContentType="application/vnd.openxmlformats-officedocument.themeOverride+xml"/>
  <Override PartName="/ppt/tags/tag38.xml" ContentType="application/vnd.openxmlformats-officedocument.presentationml.tags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docProps/custom.xml" ContentType="application/vnd.openxmlformats-officedocument.custom-properties+xml"/>
  <Override PartName="/ppt/theme/themeOverride17.xml" ContentType="application/vnd.openxmlformats-officedocument.themeOverride+xml"/>
  <Override PartName="/ppt/tags/tag34.xml" ContentType="application/vnd.openxmlformats-officedocument.presentationml.tags+xml"/>
  <Override PartName="/ppt/theme/themeOverride28.xml" ContentType="application/vnd.openxmlformats-officedocument.themeOverride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heme/themeOverride24.xml" ContentType="application/vnd.openxmlformats-officedocument.themeOverride+xml"/>
  <Override PartName="/ppt/viewProps.xml" ContentType="application/vnd.openxmlformats-officedocument.presentationml.viewProps+xml"/>
  <Override PartName="/ppt/slideLayouts/slideLayout69.xml" ContentType="application/vnd.openxmlformats-officedocument.presentationml.slideLayout+xml"/>
  <Override PartName="/ppt/tags/tag9.xml" ContentType="application/vnd.openxmlformats-officedocument.presentationml.tags+xml"/>
  <Override PartName="/ppt/theme/themeOverride13.xml" ContentType="application/vnd.openxmlformats-officedocument.themeOverride+xml"/>
  <Override PartName="/ppt/tags/tag30.xml" ContentType="application/vnd.openxmlformats-officedocument.presentationml.tag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slideLayouts/slideLayout29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76.xml" ContentType="application/vnd.openxmlformats-officedocument.presentationml.slideLayout+xml"/>
  <Default Extension="png" ContentType="image/png"/>
  <Override PartName="/ppt/theme/themeOverride20.xml" ContentType="application/vnd.openxmlformats-officedocument.themeOverride+xml"/>
  <Override PartName="/ppt/theme/themeOverride31.xml" ContentType="application/vnd.openxmlformats-officedocument.themeOverr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heme/themeOverride6.xml" ContentType="application/vnd.openxmlformats-officedocument.themeOverrid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slideLayouts/slideLayout25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72.xml" ContentType="application/vnd.openxmlformats-officedocument.presentationml.slideLayout+xml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Override2.xml" ContentType="application/vnd.openxmlformats-officedocument.themeOverride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Layouts/slideLayout21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heme/themeOverride29.xml" ContentType="application/vnd.openxmlformats-officedocument.themeOverr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heme/themeOverride18.xml" ContentType="application/vnd.openxmlformats-officedocument.themeOverride+xml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heme/themeOverride25.xml" ContentType="application/vnd.openxmlformats-officedocument.themeOverride+xml"/>
  <Override PartName="/ppt/slideLayouts/slideLayout59.xml" ContentType="application/vnd.openxmlformats-officedocument.presentationml.slideLayout+xml"/>
  <Override PartName="/ppt/tags/tag20.xml" ContentType="application/vnd.openxmlformats-officedocument.presentationml.tags+xml"/>
  <Override PartName="/ppt/theme/themeOverride14.xml" ContentType="application/vnd.openxmlformats-officedocument.themeOverride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ags/tag6.xml" ContentType="application/vnd.openxmlformats-officedocument.presentationml.tags+xml"/>
  <Override PartName="/ppt/theme/themeOverride7.xml" ContentType="application/vnd.openxmlformats-officedocument.themeOverride+xml"/>
  <Override PartName="/ppt/theme/themeOverride21.xml" ContentType="application/vnd.openxmlformats-officedocument.themeOverrid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Override10.xml" ContentType="application/vnd.openxmlformats-officedocument.themeOverride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Override3.xml" ContentType="application/vnd.openxmlformats-officedocument.themeOverride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80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8.xml" ContentType="application/vnd.openxmlformats-officedocument.presentationml.tags+xml"/>
  <Override PartName="/ppt/theme/themeOverride19.xml" ContentType="application/vnd.openxmlformats-officedocument.themeOverride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heme/themeOverride15.xml" ContentType="application/vnd.openxmlformats-officedocument.themeOverride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heme/themeOverride26.xml" ContentType="application/vnd.openxmlformats-officedocument.themeOverride+xml"/>
  <Override PartName="/ppt/slideLayouts/slideLayout9.xml" ContentType="application/vnd.openxmlformats-officedocument.presentationml.slideLayout+xml"/>
  <Override PartName="/ppt/slideLayouts/slideLayout78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heme/themeOverride22.xml" ContentType="application/vnd.openxmlformats-officedocument.themeOverride+xml"/>
  <Override PartName="/ppt/slideMasters/slideMaster2.xml" ContentType="application/vnd.openxmlformats-officedocument.presentationml.slideMaster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67.xml" ContentType="application/vnd.openxmlformats-officedocument.presentationml.slideLayout+xml"/>
  <Override PartName="/ppt/tags/tag7.xml" ContentType="application/vnd.openxmlformats-officedocument.presentationml.tags+xml"/>
  <Override PartName="/ppt/theme/themeOverride8.xml" ContentType="application/vnd.openxmlformats-officedocument.themeOverride+xml"/>
  <Override PartName="/ppt/theme/themeOverride11.xml" ContentType="application/vnd.openxmlformats-officedocument.themeOverride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63.xml" ContentType="application/vnd.openxmlformats-officedocument.presentationml.slideLayout+xml"/>
  <Override PartName="/ppt/tags/tag3.xml" ContentType="application/vnd.openxmlformats-officedocument.presentationml.tags+xml"/>
  <Override PartName="/ppt/theme/themeOverride4.xml" ContentType="application/vnd.openxmlformats-officedocument.themeOverride+xml"/>
  <Default Extension="jpeg" ContentType="image/jpeg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70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6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heme/themeOverride27.xml" ContentType="application/vnd.openxmlformats-officedocument.themeOverride+xml"/>
  <Override PartName="/ppt/tags/tag22.xml" ContentType="application/vnd.openxmlformats-officedocument.presentationml.tags+xml"/>
  <Override PartName="/ppt/theme/themeOverride16.xml" ContentType="application/vnd.openxmlformats-officedocument.themeOverride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ags/tag11.xml" ContentType="application/vnd.openxmlformats-officedocument.presentationml.tags+xml"/>
  <Override PartName="/ppt/theme/themeOverride9.xml" ContentType="application/vnd.openxmlformats-officedocument.themeOverride+xml"/>
  <Override PartName="/ppt/theme/themeOverride23.xml" ContentType="application/vnd.openxmlformats-officedocument.themeOverride+xml"/>
  <Override PartName="/ppt/slideLayouts/slideLayout39.xml" ContentType="application/vnd.openxmlformats-officedocument.presentationml.slideLayout+xml"/>
  <Override PartName="/ppt/theme/themeOverride30.xml" ContentType="application/vnd.openxmlformats-officedocument.themeOverr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3662" r:id="rId5"/>
  </p:sldMasterIdLst>
  <p:notesMasterIdLst>
    <p:notesMasterId r:id="rId11"/>
  </p:notesMasterIdLst>
  <p:sldIdLst>
    <p:sldId id="1029" r:id="rId6"/>
    <p:sldId id="1034" r:id="rId7"/>
    <p:sldId id="1030" r:id="rId8"/>
    <p:sldId id="1031" r:id="rId9"/>
    <p:sldId id="1032" r:id="rId10"/>
  </p:sldIdLst>
  <p:sldSz cx="12192000" cy="6858000"/>
  <p:notesSz cx="6797675" cy="9926638"/>
  <p:embeddedFontLst>
    <p:embeddedFont>
      <p:font typeface="Calibri" pitchFamily="34" charset="0"/>
      <p:regular r:id="rId12"/>
      <p:bold r:id="rId13"/>
      <p:italic r:id="rId14"/>
      <p:boldItalic r:id="rId15"/>
    </p:embeddedFont>
    <p:embeddedFont>
      <p:font typeface="PT Sans Caption" charset="-52"/>
      <p:regular r:id="rId16"/>
      <p:bold r:id="rId17"/>
    </p:embeddedFont>
    <p:embeddedFont>
      <p:font typeface="Calibri Light" pitchFamily="34" charset="0"/>
      <p:regular r:id="rId18"/>
      <p:italic r:id="rId19"/>
    </p:embeddedFont>
    <p:embeddedFont>
      <p:font typeface="Trebuchet MS" pitchFamily="34" charset="0"/>
      <p:regular r:id="rId20"/>
      <p:bold r:id="rId21"/>
      <p:italic r:id="rId22"/>
      <p:boldItalic r:id="rId23"/>
    </p:embeddedFont>
    <p:embeddedFont>
      <p:font typeface="PT Mono" charset="-52"/>
      <p:regular r:id="rId24"/>
    </p:embeddedFont>
  </p:embeddedFontLst>
  <p:custDataLst>
    <p:tags r:id="rId2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595959"/>
    <a:srgbClr val="F6F42E"/>
    <a:srgbClr val="FFFFFF"/>
    <a:srgbClr val="EFE95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3" autoAdjust="0"/>
    <p:restoredTop sz="94660" autoAdjust="0"/>
  </p:normalViewPr>
  <p:slideViewPr>
    <p:cSldViewPr snapToGrid="0">
      <p:cViewPr>
        <p:scale>
          <a:sx n="100" d="100"/>
          <a:sy n="100" d="100"/>
        </p:scale>
        <p:origin x="-822" y="-45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font" Target="fonts/font2.fntdata"/><Relationship Id="rId18" Type="http://schemas.openxmlformats.org/officeDocument/2006/relationships/font" Target="fonts/font7.fntdata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font" Target="fonts/font10.fntdata"/><Relationship Id="rId7" Type="http://schemas.openxmlformats.org/officeDocument/2006/relationships/slide" Target="slides/slide2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font" Target="fonts/font5.fntdata"/><Relationship Id="rId20" Type="http://schemas.openxmlformats.org/officeDocument/2006/relationships/font" Target="fonts/font9.fntdata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24" Type="http://schemas.openxmlformats.org/officeDocument/2006/relationships/font" Target="fonts/font13.fntdata"/><Relationship Id="rId5" Type="http://schemas.openxmlformats.org/officeDocument/2006/relationships/slideMaster" Target="slideMasters/slideMaster2.xml"/><Relationship Id="rId15" Type="http://schemas.openxmlformats.org/officeDocument/2006/relationships/font" Target="fonts/font4.fntdata"/><Relationship Id="rId23" Type="http://schemas.openxmlformats.org/officeDocument/2006/relationships/font" Target="fonts/font12.fntdata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font" Target="fonts/font8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font" Target="fonts/font3.fntdata"/><Relationship Id="rId22" Type="http://schemas.openxmlformats.org/officeDocument/2006/relationships/font" Target="fonts/font11.fntdata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01DF2D-F383-498B-8DB2-83655FDE0E77}" type="datetimeFigureOut">
              <a:rPr lang="ru-RU" smtClean="0"/>
              <a:pPr/>
              <a:t>19.12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4F575C-A085-4A06-96E6-19C69E9499C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540202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mlDrawing" Target="../drawings/vmlDrawing7.vml"/><Relationship Id="rId1" Type="http://schemas.openxmlformats.org/officeDocument/2006/relationships/themeOverride" Target="../theme/themeOverride1.xml"/><Relationship Id="rId4" Type="http://schemas.openxmlformats.org/officeDocument/2006/relationships/oleObject" Target="../embeddings/oleObject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6.png"/><Relationship Id="rId2" Type="http://schemas.openxmlformats.org/officeDocument/2006/relationships/vmlDrawing" Target="../drawings/vmlDrawing8.v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6.png"/><Relationship Id="rId2" Type="http://schemas.openxmlformats.org/officeDocument/2006/relationships/vmlDrawing" Target="../drawings/vmlDrawing9.v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vmlDrawing" Target="../drawings/vmlDrawing10.v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vmlDrawing" Target="../drawings/vmlDrawing11.v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vmlDrawing" Target="../drawings/vmlDrawing12.v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6.png"/><Relationship Id="rId2" Type="http://schemas.openxmlformats.org/officeDocument/2006/relationships/vmlDrawing" Target="../drawings/vmlDrawing13.v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8.png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image" Target="../media/image9.png"/><Relationship Id="rId4" Type="http://schemas.openxmlformats.org/officeDocument/2006/relationships/oleObject" Target="../embeddings/oleObject1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6.png"/><Relationship Id="rId2" Type="http://schemas.openxmlformats.org/officeDocument/2006/relationships/vmlDrawing" Target="../drawings/vmlDrawing15.v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11.png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9.png"/><Relationship Id="rId4" Type="http://schemas.openxmlformats.org/officeDocument/2006/relationships/oleObject" Target="../embeddings/oleObject1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6.png"/><Relationship Id="rId2" Type="http://schemas.openxmlformats.org/officeDocument/2006/relationships/vmlDrawing" Target="../drawings/vmlDrawing17.v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8.png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9.png"/><Relationship Id="rId4" Type="http://schemas.openxmlformats.org/officeDocument/2006/relationships/oleObject" Target="../embeddings/oleObject1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6.png"/><Relationship Id="rId2" Type="http://schemas.openxmlformats.org/officeDocument/2006/relationships/vmlDrawing" Target="../drawings/vmlDrawing19.vml"/><Relationship Id="rId1" Type="http://schemas.openxmlformats.org/officeDocument/2006/relationships/themeOverride" Target="../theme/themeOverride10.xml"/><Relationship Id="rId6" Type="http://schemas.openxmlformats.org/officeDocument/2006/relationships/image" Target="../media/image8.png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9.png"/><Relationship Id="rId4" Type="http://schemas.openxmlformats.org/officeDocument/2006/relationships/oleObject" Target="../embeddings/oleObject20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vmlDrawing" Target="../drawings/vmlDrawing21.vml"/><Relationship Id="rId1" Type="http://schemas.openxmlformats.org/officeDocument/2006/relationships/themeOverride" Target="../theme/themeOverride11.xml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2.vml"/><Relationship Id="rId4" Type="http://schemas.openxmlformats.org/officeDocument/2006/relationships/oleObject" Target="../embeddings/oleObject2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3.vml"/><Relationship Id="rId4" Type="http://schemas.openxmlformats.org/officeDocument/2006/relationships/image" Target="../media/image12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4.vml"/><Relationship Id="rId4" Type="http://schemas.openxmlformats.org/officeDocument/2006/relationships/oleObject" Target="../embeddings/oleObject2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5.vml"/><Relationship Id="rId4" Type="http://schemas.openxmlformats.org/officeDocument/2006/relationships/oleObject" Target="../embeddings/oleObject2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vmlDrawing" Target="../drawings/vmlDrawing26.vml"/><Relationship Id="rId1" Type="http://schemas.openxmlformats.org/officeDocument/2006/relationships/themeOverride" Target="../theme/themeOverride12.xml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7.vml"/><Relationship Id="rId4" Type="http://schemas.openxmlformats.org/officeDocument/2006/relationships/oleObject" Target="../embeddings/oleObject2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9.vml"/><Relationship Id="rId4" Type="http://schemas.openxmlformats.org/officeDocument/2006/relationships/oleObject" Target="../embeddings/oleObject2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3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32.vml"/><Relationship Id="rId4" Type="http://schemas.openxmlformats.org/officeDocument/2006/relationships/oleObject" Target="../embeddings/oleObject3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33.vml"/><Relationship Id="rId4" Type="http://schemas.openxmlformats.org/officeDocument/2006/relationships/oleObject" Target="../embeddings/oleObject3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34.v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6.png"/><Relationship Id="rId2" Type="http://schemas.openxmlformats.org/officeDocument/2006/relationships/vmlDrawing" Target="../drawings/vmlDrawing35.vml"/><Relationship Id="rId1" Type="http://schemas.openxmlformats.org/officeDocument/2006/relationships/themeOverride" Target="../theme/themeOverride13.x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6.png"/><Relationship Id="rId2" Type="http://schemas.openxmlformats.org/officeDocument/2006/relationships/vmlDrawing" Target="../drawings/vmlDrawing36.v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6.png"/><Relationship Id="rId2" Type="http://schemas.openxmlformats.org/officeDocument/2006/relationships/vmlDrawing" Target="../drawings/vmlDrawing37.vml"/><Relationship Id="rId1" Type="http://schemas.openxmlformats.org/officeDocument/2006/relationships/themeOverride" Target="../theme/themeOverride15.x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vmlDrawing" Target="../drawings/vmlDrawing38.vml"/><Relationship Id="rId1" Type="http://schemas.openxmlformats.org/officeDocument/2006/relationships/themeOverride" Target="../theme/themeOverride16.x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vmlDrawing" Target="../drawings/vmlDrawing39.vml"/><Relationship Id="rId1" Type="http://schemas.openxmlformats.org/officeDocument/2006/relationships/themeOverride" Target="../theme/themeOverride17.x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vmlDrawing" Target="../drawings/vmlDrawing40.vml"/><Relationship Id="rId1" Type="http://schemas.openxmlformats.org/officeDocument/2006/relationships/themeOverride" Target="../theme/themeOverride18.x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vmlDrawing" Target="../drawings/vmlDrawing41.vml"/><Relationship Id="rId1" Type="http://schemas.openxmlformats.org/officeDocument/2006/relationships/themeOverride" Target="../theme/themeOverride19.xml"/><Relationship Id="rId6" Type="http://schemas.openxmlformats.org/officeDocument/2006/relationships/image" Target="../media/image8.png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9.png"/><Relationship Id="rId4" Type="http://schemas.openxmlformats.org/officeDocument/2006/relationships/oleObject" Target="../embeddings/oleObject4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vmlDrawing" Target="../drawings/vmlDrawing43.vml"/><Relationship Id="rId1" Type="http://schemas.openxmlformats.org/officeDocument/2006/relationships/themeOverride" Target="../theme/themeOverride20.xml"/><Relationship Id="rId6" Type="http://schemas.openxmlformats.org/officeDocument/2006/relationships/image" Target="../media/image11.png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9.png"/><Relationship Id="rId4" Type="http://schemas.openxmlformats.org/officeDocument/2006/relationships/oleObject" Target="../embeddings/oleObject4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vmlDrawing" Target="../drawings/vmlDrawing45.vml"/><Relationship Id="rId1" Type="http://schemas.openxmlformats.org/officeDocument/2006/relationships/themeOverride" Target="../theme/themeOverride21.xml"/><Relationship Id="rId6" Type="http://schemas.openxmlformats.org/officeDocument/2006/relationships/image" Target="../media/image8.png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9.png"/><Relationship Id="rId4" Type="http://schemas.openxmlformats.org/officeDocument/2006/relationships/oleObject" Target="../embeddings/oleObject4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vmlDrawing" Target="../drawings/vmlDrawing47.vml"/><Relationship Id="rId1" Type="http://schemas.openxmlformats.org/officeDocument/2006/relationships/themeOverride" Target="../theme/themeOverride22.xml"/><Relationship Id="rId6" Type="http://schemas.openxmlformats.org/officeDocument/2006/relationships/image" Target="../media/image8.png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9.png"/><Relationship Id="rId4" Type="http://schemas.openxmlformats.org/officeDocument/2006/relationships/oleObject" Target="../embeddings/oleObject48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vmlDrawing" Target="../drawings/vmlDrawing49.vml"/><Relationship Id="rId1" Type="http://schemas.openxmlformats.org/officeDocument/2006/relationships/themeOverride" Target="../theme/themeOverride23.xml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50.vml"/><Relationship Id="rId4" Type="http://schemas.openxmlformats.org/officeDocument/2006/relationships/oleObject" Target="../embeddings/oleObject50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51.vml"/><Relationship Id="rId4" Type="http://schemas.openxmlformats.org/officeDocument/2006/relationships/image" Target="../media/image12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52.vml"/><Relationship Id="rId4" Type="http://schemas.openxmlformats.org/officeDocument/2006/relationships/oleObject" Target="../embeddings/oleObject5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vmlDrawing" Target="../drawings/vmlDrawing53.vml"/><Relationship Id="rId1" Type="http://schemas.openxmlformats.org/officeDocument/2006/relationships/themeOverride" Target="../theme/themeOverride24.xml"/><Relationship Id="rId6" Type="http://schemas.openxmlformats.org/officeDocument/2006/relationships/image" Target="../media/image8.png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vmlDrawing" Target="../drawings/vmlDrawing54.vml"/><Relationship Id="rId1" Type="http://schemas.openxmlformats.org/officeDocument/2006/relationships/themeOverride" Target="../theme/themeOverride25.xml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55.vml"/><Relationship Id="rId4" Type="http://schemas.openxmlformats.org/officeDocument/2006/relationships/oleObject" Target="../embeddings/oleObject55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56.vml"/><Relationship Id="rId4" Type="http://schemas.openxmlformats.org/officeDocument/2006/relationships/oleObject" Target="../embeddings/oleObject5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58.vml"/><Relationship Id="rId4" Type="http://schemas.openxmlformats.org/officeDocument/2006/relationships/oleObject" Target="../embeddings/oleObject58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vmlDrawing" Target="../drawings/vmlDrawing59.vml"/><Relationship Id="rId1" Type="http://schemas.openxmlformats.org/officeDocument/2006/relationships/themeOverride" Target="../theme/themeOverride26.xml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mlDrawing" Target="../drawings/vmlDrawing60.vml"/><Relationship Id="rId1" Type="http://schemas.openxmlformats.org/officeDocument/2006/relationships/themeOverride" Target="../theme/themeOverride27.xml"/><Relationship Id="rId4" Type="http://schemas.openxmlformats.org/officeDocument/2006/relationships/oleObject" Target="../embeddings/oleObject60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mlDrawing" Target="../drawings/vmlDrawing61.vml"/><Relationship Id="rId1" Type="http://schemas.openxmlformats.org/officeDocument/2006/relationships/themeOverride" Target="../theme/themeOverride28.xml"/><Relationship Id="rId4" Type="http://schemas.openxmlformats.org/officeDocument/2006/relationships/oleObject" Target="../embeddings/oleObject61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vmlDrawing" Target="../drawings/vmlDrawing62.vml"/><Relationship Id="rId1" Type="http://schemas.openxmlformats.org/officeDocument/2006/relationships/themeOverride" Target="../theme/themeOverride29.x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63.vml"/><Relationship Id="rId4" Type="http://schemas.openxmlformats.org/officeDocument/2006/relationships/oleObject" Target="../embeddings/oleObject63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64.v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65.v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vmlDrawing" Target="../drawings/vmlDrawing66.vml"/><Relationship Id="rId1" Type="http://schemas.openxmlformats.org/officeDocument/2006/relationships/themeOverride" Target="../theme/themeOverride30.x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mlDrawing" Target="../drawings/vmlDrawing67.vml"/><Relationship Id="rId1" Type="http://schemas.openxmlformats.org/officeDocument/2006/relationships/themeOverride" Target="../theme/themeOverride31.xml"/><Relationship Id="rId5" Type="http://schemas.openxmlformats.org/officeDocument/2006/relationships/image" Target="../media/image8.png"/><Relationship Id="rId4" Type="http://schemas.openxmlformats.org/officeDocument/2006/relationships/oleObject" Target="../embeddings/oleObject67.bin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A685E6FB-BE28-4688-ADC5-1779C5081F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="" xmlns:a16="http://schemas.microsoft.com/office/drawing/2014/main" id="{CBC65D24-A699-4ECC-91B5-9C78850390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381FDBDF-7994-44D8-B5FE-E7B3F1CA90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19.12.2019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5608228-18AA-48A4-9FAE-C434D2DFCA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1719688B-B5E6-4F5F-BCDB-3658030273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1025276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6AE6DDCC-5128-4763-9078-427FFCF42F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F93E2739-30E0-4663-8A1B-BF2A8CDB1F9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8658AB23-3740-41EE-9281-ADB45D46AE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19.12.2019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404C4A0B-2E16-4D24-851E-67117E3E0B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F0EF18B9-3455-4B50-83B7-AA8347F43B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3256900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="" xmlns:a16="http://schemas.microsoft.com/office/drawing/2014/main" id="{A912D361-751A-4566-A87B-67504F20A70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C6971531-90ED-44B9-BD85-7551283754C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6A4BA505-7365-4147-9B2A-007B95C477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19.12.2019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66471E89-D9A5-4211-8FD0-8BAAEF271B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8196659D-F976-4FAA-AAE6-919D0B82FD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073314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227" name="Слайд think-cell" r:id="rId3" imgW="360" imgH="360" progId="">
              <p:embed/>
            </p:oleObj>
          </a:graphicData>
        </a:graphic>
      </p:graphicFrame>
      <p:pic>
        <p:nvPicPr>
          <p:cNvPr id="2" name="Picture 1" descr="Screen Clippi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89739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Shape 54"/>
          <p:cNvPicPr preferRelativeResize="0"/>
          <p:nvPr userDrawn="1"/>
        </p:nvPicPr>
        <p:blipFill>
          <a:blip r:embed="rId5" cstate="screen">
            <a:alphaModFix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Shape 56"/>
          <p:cNvPicPr preferRelativeResize="0"/>
          <p:nvPr userDrawn="1"/>
        </p:nvPicPr>
        <p:blipFill>
          <a:blip r:embed="rId6" cstate="print">
            <a:alphaModFix/>
          </a:blip>
          <a:stretch>
            <a:fillRect/>
          </a:stretch>
        </p:blipFill>
        <p:spPr>
          <a:xfrm>
            <a:off x="615359" y="562045"/>
            <a:ext cx="1346725" cy="259451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934752" y="2034605"/>
            <a:ext cx="5698159" cy="1394494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Ключевые направления деятельности ЦРПТ</a:t>
            </a:r>
            <a:br>
              <a:rPr lang="ru-RU" dirty="0"/>
            </a:br>
            <a:r>
              <a:rPr lang="ru-RU" dirty="0"/>
              <a:t>Июнь, 2018</a:t>
            </a:r>
          </a:p>
        </p:txBody>
      </p:sp>
    </p:spTree>
    <p:extLst>
      <p:ext uri="{BB962C8B-B14F-4D97-AF65-F5344CB8AC3E}">
        <p14:creationId xmlns:p14="http://schemas.microsoft.com/office/powerpoint/2010/main" xmlns="" val="4283030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251" name="Слайд think-cell" r:id="rId4" imgW="360" imgH="360" progId="">
              <p:embed/>
            </p:oleObj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0"/>
            <a:ext cx="12192000" cy="115570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товаров в РФ для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342401"/>
            <a:ext cx="10945142" cy="470898"/>
          </a:xfrm>
          <a:prstGeom prst="rect">
            <a:avLst/>
          </a:prstGeom>
        </p:spPr>
        <p:txBody>
          <a:bodyPr vert="horz" wrap="square" lIns="0" tIns="0" rIns="0" bIns="0" anchor="ctr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 preferRelativeResize="0"/>
          <p:nvPr userDrawn="1"/>
        </p:nvPicPr>
        <p:blipFill rotWithShape="1">
          <a:blip r:embed="rId5" cstate="print">
            <a:alphaModFix/>
          </a:blip>
          <a:srcRect l="-57" t="571" r="55" b="32592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3777853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275" name="Слайд think-cell" r:id="rId4" imgW="360" imgH="360" progId="">
              <p:embed/>
            </p:oleObj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585948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299" name="Слайд think-cell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1079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093620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323" name="Слайд think-cell" r:id="rId4" imgW="360" imgH="360" progId="">
              <p:embed/>
            </p:oleObj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7083761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347" name="Слайд think-cell" r:id="rId5" imgW="360" imgH="360" progId="">
              <p:embed/>
            </p:oleObj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 preferRelativeResize="0"/>
          <p:nvPr userDrawn="1"/>
        </p:nvPicPr>
        <p:blipFill rotWithShape="1">
          <a:blip r:embed="rId7" cstate="print">
            <a:alphaModFix/>
          </a:blip>
          <a:srcRect l="-57" t="571" r="55" b="32592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29163705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371" name="Слайд think-cell" r:id="rId5" imgW="360" imgH="360" progId="">
              <p:embed/>
            </p:oleObj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2" name="Picture 11"/>
          <p:cNvPicPr preferRelativeResize="0"/>
          <p:nvPr userDrawn="1"/>
        </p:nvPicPr>
        <p:blipFill rotWithShape="1">
          <a:blip r:embed="rId7" cstate="print">
            <a:alphaModFix/>
          </a:blip>
          <a:srcRect l="-57" t="571" r="55" b="32592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15556043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395" name="Слайд think-cell" r:id="rId5" imgW="360" imgH="360" progId="">
              <p:embed/>
            </p:oleObj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235629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14311FDE-F7C6-4922-9D77-6683150D29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22B93C08-6EE6-4F08-B84C-9B5DB594B91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D3056090-838C-4504-9616-565B2D4661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19.12.2019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7B9607D2-7496-4836-9410-8627A572C5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A26739CF-2703-4677-B763-B9D110EEDF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1000629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5419" name="Слайд think-cell" r:id="rId5" imgW="360" imgH="360" progId="">
              <p:embed/>
            </p:oleObj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solidFill>
            <a:srgbClr val="F2F2F2"/>
          </a:solidFill>
        </p:spPr>
        <p:txBody>
          <a:bodyPr lIns="914400" tIns="914400" rIns="914400" bIns="914400"/>
          <a:lstStyle>
            <a:lvl1pPr algn="ctr">
              <a:defRPr sz="1800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769879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443" name="Слайд think-cell" r:id="rId5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solidFill>
            <a:srgbClr val="F2F2F2"/>
          </a:solidFill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022744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467" name="Слайд think-cell" r:id="rId5" imgW="360" imgH="360" progId="">
              <p:embed/>
            </p:oleObj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 preferRelativeResize="0"/>
          <p:nvPr userDrawn="1"/>
        </p:nvPicPr>
        <p:blipFill rotWithShape="1">
          <a:blip r:embed="rId7" cstate="print">
            <a:alphaModFix/>
          </a:blip>
          <a:srcRect l="-57" t="571" r="55" b="32592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16031696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491" name="Слайд think-cell" r:id="rId4" imgW="360" imgH="360" progId="">
              <p:embed/>
            </p:oleObj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0" name="Picture 9"/>
          <p:cNvPicPr preferRelativeResize="0"/>
          <p:nvPr userDrawn="1"/>
        </p:nvPicPr>
        <p:blipFill rotWithShape="1">
          <a:blip r:embed="rId6" cstate="print">
            <a:alphaModFix/>
          </a:blip>
          <a:srcRect l="-57" t="571" r="55" b="32592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26342424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515" name="Слайд think-cell" r:id="rId5" imgW="360" imgH="360" progId="">
              <p:embed/>
            </p:oleObj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 preferRelativeResize="0"/>
          <p:nvPr userDrawn="1"/>
        </p:nvPicPr>
        <p:blipFill rotWithShape="1">
          <a:blip r:embed="rId7" cstate="print">
            <a:alphaModFix/>
          </a:blip>
          <a:srcRect l="-57" t="571" r="55" b="32592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13246354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539" name="Слайд think-cell" r:id="rId4" imgW="360" imgH="360" progId="">
              <p:embed/>
            </p:oleObj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xmlns="" val="13535027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563" name="Слайд think-cell" r:id="rId5" imgW="360" imgH="360" progId="">
              <p:embed/>
            </p:oleObj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 preferRelativeResize="0"/>
          <p:nvPr userDrawn="1"/>
        </p:nvPicPr>
        <p:blipFill rotWithShape="1">
          <a:blip r:embed="rId7" cstate="print">
            <a:alphaModFix/>
          </a:blip>
          <a:srcRect l="-57" t="571" r="55" b="32592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23345959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=""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587" name="Слайд think-cell" r:id="rId4" imgW="360" imgH="360" progId="">
              <p:embed/>
            </p:oleObj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xmlns="" val="28774472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=""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611" name="Слайд think-cell" r:id="rId5" imgW="360" imgH="360" progId="">
              <p:embed/>
            </p:oleObj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 preferRelativeResize="0"/>
          <p:nvPr userDrawn="1"/>
        </p:nvPicPr>
        <p:blipFill rotWithShape="1">
          <a:blip r:embed="rId7" cstate="print">
            <a:alphaModFix/>
          </a:blip>
          <a:srcRect l="-57" t="571" r="55" b="32592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8782417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4635" name="Слайд think-cell" r:id="rId4" imgW="360" imgH="360" progId="">
              <p:embed/>
            </p:oleObj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xmlns="" val="40299293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A758ED72-1DF0-4005-A19C-53FC94FF6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ED4BD04D-D8A0-47A7-9405-6908FDE11D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BC8C5F39-623F-4039-9808-5812DC4638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19.12.2019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A53CD22D-DFC9-4A4B-BD50-76961AC71A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2316C5C8-1D23-4569-9FA4-580129684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26217928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5659" name="Слайд think-cell" r:id="rId5" imgW="360" imgH="360" progId="">
              <p:embed/>
            </p:oleObj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269211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683" name="Слайд think-cell" r:id="rId4" imgW="360" imgH="360" progId="">
              <p:embed/>
            </p:oleObj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888888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062969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1D1D1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7707" name="Слайд think-cell" r:id="rId3" imgW="360" imgH="360" progId="">
              <p:embed/>
            </p:oleObj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643779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8731" name="Слайд think-cell" r:id="rId4" imgW="360" imgH="360" progId="">
              <p:embed/>
            </p:oleObj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507298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9755" name="Слайд think-cell" r:id="rId4" imgW="360" imgH="360" progId="">
              <p:embed/>
            </p:oleObj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253004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0779" name="Слайд think-cell" r:id="rId5" imgW="360" imgH="360" progId="">
              <p:embed/>
            </p:oleObj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404728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1803" name="Слайд think-cell" r:id="rId4" imgW="360" imgH="360" progId="">
              <p:embed/>
            </p:oleObj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693719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2827" name="Слайд think-cell" r:id="rId3" imgW="360" imgH="360" progId="">
              <p:embed/>
            </p:oleObj>
          </a:graphicData>
        </a:graphic>
      </p:graphicFrame>
      <p:pic>
        <p:nvPicPr>
          <p:cNvPr id="7" name="Picture 6" descr="Screen Clippi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89739" cy="685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5" cstate="screen">
            <a:alphaModFix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56"/>
          <p:cNvPicPr preferRelativeResize="0"/>
          <p:nvPr userDrawn="1"/>
        </p:nvPicPr>
        <p:blipFill>
          <a:blip r:embed="rId6" cstate="print">
            <a:alphaModFix/>
          </a:blip>
          <a:stretch>
            <a:fillRect/>
          </a:stretch>
        </p:blipFill>
        <p:spPr>
          <a:xfrm>
            <a:off x="615359" y="562045"/>
            <a:ext cx="1346725" cy="259451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21138477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3851" name="Слайд think-cell" r:id="rId4" imgW="360" imgH="360" progId="">
              <p:embed/>
            </p:oleObj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29999" y="6144442"/>
              <a:ext cx="10151211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1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  2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  3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682755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4875" name="Слайд think-cell" r:id="rId3" imgW="360" imgH="360" progId="">
              <p:embed/>
            </p:oleObj>
          </a:graphicData>
        </a:graphic>
      </p:graphicFrame>
      <p:pic>
        <p:nvPicPr>
          <p:cNvPr id="9" name="Picture 8" descr="Screen Clippi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89739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5" cstate="screen">
            <a:alphaModFix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56"/>
          <p:cNvPicPr preferRelativeResize="0"/>
          <p:nvPr userDrawn="1"/>
        </p:nvPicPr>
        <p:blipFill>
          <a:blip r:embed="rId6" cstate="print">
            <a:alphaModFix/>
          </a:blip>
          <a:stretch>
            <a:fillRect/>
          </a:stretch>
        </p:blipFill>
        <p:spPr>
          <a:xfrm>
            <a:off x="615359" y="562045"/>
            <a:ext cx="1346725" cy="2594514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4934752" y="2034605"/>
            <a:ext cx="5698159" cy="1394494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Ключевые направления деятельности ЦРПТ</a:t>
            </a:r>
            <a:br>
              <a:rPr lang="ru-RU" dirty="0"/>
            </a:br>
            <a:r>
              <a:rPr lang="ru-RU" dirty="0"/>
              <a:t>Июнь, 2018</a:t>
            </a:r>
          </a:p>
        </p:txBody>
      </p:sp>
    </p:spTree>
    <p:extLst>
      <p:ext uri="{BB962C8B-B14F-4D97-AF65-F5344CB8AC3E}">
        <p14:creationId xmlns:p14="http://schemas.microsoft.com/office/powerpoint/2010/main" xmlns="" val="31618073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=""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EA70C9F-1500-441E-AF16-C78D0F2A0C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4531B600-0EFB-4CE4-B44D-D771F05169C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1DC52722-5DD4-418F-BC57-25F740A658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D92955FA-A5A7-47CD-8F80-936EAAA54D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19.12.2019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CCB147A9-A975-4C08-BBFD-774D00CC1A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DFAF8AC6-FF5C-4113-8941-0B01E1838E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15418796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5899" name="Слайд think-cell" r:id="rId4" imgW="360" imgH="360" progId="">
              <p:embed/>
            </p:oleObj>
          </a:graphicData>
        </a:graphic>
      </p:graphicFrame>
      <p:sp>
        <p:nvSpPr>
          <p:cNvPr id="9" name="Rectangle 8"/>
          <p:cNvSpPr/>
          <p:nvPr userDrawn="1"/>
        </p:nvSpPr>
        <p:spPr>
          <a:xfrm>
            <a:off x="0" y="0"/>
            <a:ext cx="12192000" cy="115570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411651"/>
            <a:ext cx="10912816" cy="332399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 preferRelativeResize="0"/>
          <p:nvPr userDrawn="1"/>
        </p:nvPicPr>
        <p:blipFill rotWithShape="1">
          <a:blip r:embed="rId5" cstate="print">
            <a:alphaModFix/>
          </a:blip>
          <a:srcRect l="-57" t="571" r="55" b="32592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38081263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=""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6923" name="Слайд think-cell" r:id="rId4" imgW="360" imgH="360" progId="">
              <p:embed/>
            </p:oleObj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208002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7947" name="Слайд think-cell" r:id="rId4" imgW="360" imgH="360" progId="">
              <p:embed/>
            </p:oleObj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6E6F73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88888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368275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8971" name="Слайд think-cell" r:id="rId3" imgW="360" imgH="360" progId="">
              <p:embed/>
            </p:oleObj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  <a:ln/>
        </p:spPr>
        <p:txBody>
          <a:bodyPr anchor="t">
            <a:noAutofit/>
          </a:bodyPr>
          <a:lstStyle>
            <a:lvl1pPr>
              <a:defRPr sz="5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888888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4917690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9995" name="Слайд think-cell" r:id="rId5" imgW="360" imgH="360" progId="">
              <p:embed/>
            </p:oleObj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 preferRelativeResize="0"/>
          <p:nvPr userDrawn="1"/>
        </p:nvPicPr>
        <p:blipFill rotWithShape="1">
          <a:blip r:embed="rId7" cstate="print">
            <a:alphaModFix/>
          </a:blip>
          <a:srcRect l="-57" t="571" r="55" b="32592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37176678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1019" name="Слайд think-cell" r:id="rId5" imgW="360" imgH="360" progId="">
              <p:embed/>
            </p:oleObj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 preferRelativeResize="0"/>
          <p:nvPr userDrawn="1"/>
        </p:nvPicPr>
        <p:blipFill rotWithShape="1">
          <a:blip r:embed="rId7" cstate="print">
            <a:alphaModFix/>
          </a:blip>
          <a:srcRect l="-57" t="571" r="55" b="32592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12666456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2043" name="Слайд think-cell" r:id="rId5" imgW="360" imgH="360" progId="">
              <p:embed/>
            </p:oleObj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 preferRelativeResize="0"/>
          <p:nvPr userDrawn="1"/>
        </p:nvPicPr>
        <p:blipFill rotWithShape="1">
          <a:blip r:embed="rId7" cstate="print">
            <a:alphaModFix/>
          </a:blip>
          <a:srcRect l="-57" t="571" r="55" b="32592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11492013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3067" name="Слайд think-cell" r:id="rId5" imgW="360" imgH="360" progId="">
              <p:embed/>
            </p:oleObj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988273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4091" name="Слайд think-cell" r:id="rId5" imgW="360" imgH="360" progId="">
              <p:embed/>
            </p:oleObj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291372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5115" name="Слайд think-cell" r:id="rId5" imgW="360" imgH="360" progId="">
              <p:embed/>
            </p:oleObj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899470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C6CDCACA-AFFD-450F-8222-33CE086D2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28A1EB54-6C8E-4D84-AFA5-AE34B00FFF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461A5B4F-E3EB-40BB-9FC1-66E474FCB91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="" xmlns:a16="http://schemas.microsoft.com/office/drawing/2014/main" id="{81EF30F9-D95A-433D-827B-B10941C8D34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="" xmlns:a16="http://schemas.microsoft.com/office/drawing/2014/main" id="{FF71FC8F-F6B8-416D-A689-DF822256915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="" xmlns:a16="http://schemas.microsoft.com/office/drawing/2014/main" id="{04BB1535-56E1-4742-B062-5A054C0A51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19.12.2019</a:t>
            </a:fld>
            <a:endParaRPr lang="ru-RU" dirty="0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="" xmlns:a16="http://schemas.microsoft.com/office/drawing/2014/main" id="{6882FE37-9D1B-4974-B4DC-D0F258458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="" xmlns:a16="http://schemas.microsoft.com/office/drawing/2014/main" id="{D6ED5E59-C82C-40E9-858D-CB361E91B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0084915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6139" name="Слайд think-cell" r:id="rId5" imgW="360" imgH="360" progId="">
              <p:embed/>
            </p:oleObj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5083180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7163" name="Слайд think-cell" r:id="rId4" imgW="360" imgH="360" progId="">
              <p:embed/>
            </p:oleObj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xmlns="" val="7552721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8187" name="Слайд think-cell" r:id="rId5" imgW="360" imgH="360" progId="">
              <p:embed/>
            </p:oleObj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541083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9211" name="Слайд think-cell" r:id="rId4" imgW="360" imgH="360" progId="">
              <p:embed/>
            </p:oleObj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xmlns="" val="39634095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0235" name="Слайд think-cell" r:id="rId5" imgW="360" imgH="360" progId="">
              <p:embed/>
            </p:oleObj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2443513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1259" name="Слайд think-cell" r:id="rId4" imgW="360" imgH="360" progId="">
              <p:embed/>
            </p:oleObj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xmlns="" val="37522014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2283" name="Слайд think-cell" r:id="rId5" imgW="360" imgH="360" progId="">
              <p:embed/>
            </p:oleObj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0100845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3307" name="Слайд think-cell" r:id="rId4" imgW="360" imgH="360" progId="">
              <p:embed/>
            </p:oleObj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xmlns="" val="37071797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4331" name="Слайд think-cell" r:id="rId5" imgW="360" imgH="360" progId="">
              <p:embed/>
            </p:oleObj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385494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5355" name="Слайд think-cell" r:id="rId4" imgW="360" imgH="360" progId="">
              <p:embed/>
            </p:oleObj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888888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143601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66FCF693-BEE8-440D-B06C-D6F24FC408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0BCD4866-3445-4E2F-BEBF-7A78C401DA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19.12.2019</a:t>
            </a:fld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EC36EA1F-2F4C-4593-A856-B55E5D231C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87BABA99-6AD0-43B3-88C4-076BE5BA41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02851975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1D1D1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6379" name="Слайд think-cell" r:id="rId3" imgW="360" imgH="360" progId="">
              <p:embed/>
            </p:oleObj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050056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7403" name="Слайд think-cell" r:id="rId4" imgW="360" imgH="360" progId="">
              <p:embed/>
            </p:oleObj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415318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8427" name="Слайд think-cell" r:id="rId5" imgW="360" imgH="360" progId="">
              <p:embed/>
            </p:oleObj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999" y="2577934"/>
            <a:ext cx="2984057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7956027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9451" name="Слайд think-cell" r:id="rId5" imgW="360" imgH="360" progId="">
              <p:embed/>
            </p:oleObj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852634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0475" name="Слайд think-cell" r:id="rId4" imgW="360" imgH="360" progId="">
              <p:embed/>
            </p:oleObj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727479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1499" name="Слайд think-cell" r:id="rId4" imgW="360" imgH="360" progId="">
              <p:embed/>
            </p:oleObj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9930592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2523" name="Слайд think-cell" r:id="rId3" imgW="360" imgH="360" progId="">
              <p:embed/>
            </p:oleObj>
          </a:graphicData>
        </a:graphic>
      </p:graphicFrame>
      <p:pic>
        <p:nvPicPr>
          <p:cNvPr id="7" name="Picture 6" descr="Screen Clippi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89739" cy="685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5" cstate="screen">
            <a:alphaModFix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56"/>
          <p:cNvPicPr preferRelativeResize="0"/>
          <p:nvPr userDrawn="1"/>
        </p:nvPicPr>
        <p:blipFill>
          <a:blip r:embed="rId6" cstate="print">
            <a:alphaModFix/>
          </a:blip>
          <a:stretch>
            <a:fillRect/>
          </a:stretch>
        </p:blipFill>
        <p:spPr>
          <a:xfrm>
            <a:off x="615359" y="562045"/>
            <a:ext cx="1346725" cy="259451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39680075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3547" name="Слайд think-cell" r:id="rId4" imgW="360" imgH="360" progId="">
              <p:embed/>
            </p:oleObj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794160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1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  2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  3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133165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4571" name="Слайд think-cell" r:id="rId5" imgW="360" imgH="360" progId="">
              <p:embed/>
            </p:oleObj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588601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977381" y="1115416"/>
            <a:ext cx="2753319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xmlns="" val="28760808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5595" name="Слайд think-cell" r:id="rId4" imgW="360" imgH="360" progId="">
              <p:embed/>
            </p:oleObj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09462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="" xmlns:a16="http://schemas.microsoft.com/office/drawing/2014/main" id="{091B5932-9EFC-4F1B-9684-00F2C95C6A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19.12.2019</a:t>
            </a:fld>
            <a:endParaRPr lang="ru-RU" dirty="0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EC2C7FC9-642C-432E-B74B-A873557782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0B91021C-54BF-4F55-98C4-8A86B08B4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03635592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6619" name="Слайд think-cell" r:id="rId4" imgW="360" imgH="360" progId="">
              <p:embed/>
            </p:oleObj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3447643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7643" name="Слайд think-cell" r:id="rId5" imgW="360" imgH="360" progId="">
              <p:embed/>
            </p:oleObj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xmlns="" val="7764825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8667" name="Слайд think-cell" r:id="rId4" imgW="360" imgH="360" progId="">
              <p:embed/>
            </p:oleObj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6E6F7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6E6F7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614002"/>
          </a:xfrm>
          <a:prstGeom prst="rect">
            <a:avLst/>
          </a:prstGeom>
          <a:noFill/>
          <a:ln>
            <a:solidFill>
              <a:srgbClr val="6E6F73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977381" y="1115416"/>
            <a:ext cx="2753318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xmlns="" val="17331817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9691" name="Слайд think-cell" r:id="rId3" imgW="360" imgH="360" progId="">
              <p:embed/>
            </p:oleObj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6E6F7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6E6F7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425246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0715" name="Слайд think-cell" r:id="rId3" imgW="360" imgH="360" progId="">
              <p:embed/>
            </p:oleObj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6E6F73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8043629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1739" name="Слайд think-cell" r:id="rId5" imgW="360" imgH="360" progId="">
              <p:embed/>
            </p:oleObj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xmlns="" val="17894081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2763" name="Слайд think-cell" r:id="rId4" imgW="360" imgH="360" progId="">
              <p:embed/>
            </p:oleObj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999" y="2577934"/>
            <a:ext cx="3172743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1051392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517034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da" smtClean="0"/>
              <a:pPr/>
              <a:t>‹#›</a:t>
            </a:fld>
            <a:endParaRPr lang="da"/>
          </a:p>
        </p:txBody>
      </p:sp>
    </p:spTree>
    <p:extLst>
      <p:ext uri="{BB962C8B-B14F-4D97-AF65-F5344CB8AC3E}">
        <p14:creationId xmlns:p14="http://schemas.microsoft.com/office/powerpoint/2010/main" xmlns="" val="68726049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14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5" name="Shape 1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da" smtClean="0"/>
              <a:pPr/>
              <a:t>‹#›</a:t>
            </a:fld>
            <a:endParaRPr lang="da"/>
          </a:p>
        </p:txBody>
      </p:sp>
    </p:spTree>
    <p:extLst>
      <p:ext uri="{BB962C8B-B14F-4D97-AF65-F5344CB8AC3E}">
        <p14:creationId xmlns:p14="http://schemas.microsoft.com/office/powerpoint/2010/main" xmlns="" val="3450533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текст">
  <p:cSld name="Заголовок и текст">
    <p:bg>
      <p:bgPr>
        <a:blipFill>
          <a:blip r:embed="rId2" cstate="print">
            <a:alphaModFix/>
          </a:blip>
          <a:stretch>
            <a:fillRect/>
          </a:stretch>
        </a:blipFill>
        <a:effectLst/>
      </p:bgPr>
    </p:bg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3172" tIns="46573" rIns="93172" bIns="46573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344" b="0" i="0" u="none" strike="noStrike" cap="none">
              <a:solidFill>
                <a:schemeClr val="lt1"/>
              </a:solidFill>
              <a:latin typeface="PT Sans Caption"/>
              <a:ea typeface="PT Sans Caption"/>
              <a:cs typeface="PT Sans Caption"/>
              <a:sym typeface="PT Sans Caption"/>
            </a:endParaRPr>
          </a:p>
        </p:txBody>
      </p:sp>
      <p:sp>
        <p:nvSpPr>
          <p:cNvPr id="60" name="Shape 60"/>
          <p:cNvSpPr txBox="1">
            <a:spLocks noGrp="1"/>
          </p:cNvSpPr>
          <p:nvPr>
            <p:ph type="sldNum" idx="12"/>
          </p:nvPr>
        </p:nvSpPr>
        <p:spPr>
          <a:xfrm>
            <a:off x="10822634" y="6238346"/>
            <a:ext cx="1102977" cy="3656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121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1pPr>
            <a:lvl2pPr marL="0" marR="0" lvl="1" indent="0" algn="r" rtl="0">
              <a:spcBef>
                <a:spcPts val="0"/>
              </a:spcBef>
              <a:buNone/>
              <a:defRPr sz="1121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2pPr>
            <a:lvl3pPr marL="0" marR="0" lvl="2" indent="0" algn="r" rtl="0">
              <a:spcBef>
                <a:spcPts val="0"/>
              </a:spcBef>
              <a:buNone/>
              <a:defRPr sz="1121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3pPr>
            <a:lvl4pPr marL="0" marR="0" lvl="3" indent="0" algn="r" rtl="0">
              <a:spcBef>
                <a:spcPts val="0"/>
              </a:spcBef>
              <a:buNone/>
              <a:defRPr sz="1121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4pPr>
            <a:lvl5pPr marL="0" marR="0" lvl="4" indent="0" algn="r" rtl="0">
              <a:spcBef>
                <a:spcPts val="0"/>
              </a:spcBef>
              <a:buNone/>
              <a:defRPr sz="1121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5pPr>
            <a:lvl6pPr marL="0" marR="0" lvl="5" indent="0" algn="r" rtl="0">
              <a:spcBef>
                <a:spcPts val="0"/>
              </a:spcBef>
              <a:buNone/>
              <a:defRPr sz="1121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6pPr>
            <a:lvl7pPr marL="0" marR="0" lvl="6" indent="0" algn="r" rtl="0">
              <a:spcBef>
                <a:spcPts val="0"/>
              </a:spcBef>
              <a:buNone/>
              <a:defRPr sz="1121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7pPr>
            <a:lvl8pPr marL="0" marR="0" lvl="7" indent="0" algn="r" rtl="0">
              <a:spcBef>
                <a:spcPts val="0"/>
              </a:spcBef>
              <a:buNone/>
              <a:defRPr sz="1121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8pPr>
            <a:lvl9pPr marL="0" marR="0" lvl="8" indent="0" algn="r" rtl="0">
              <a:spcBef>
                <a:spcPts val="0"/>
              </a:spcBef>
              <a:buNone/>
              <a:defRPr sz="1121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9pPr>
          </a:lstStyle>
          <a:p>
            <a:r>
              <a:rPr lang="ru-RU"/>
              <a:t>СТР. </a:t>
            </a:r>
            <a:fld id="{00000000-1234-1234-1234-123412341234}" type="slidenum">
              <a:rPr lang="ru" smtClean="0"/>
              <a:pPr/>
              <a:t>‹#›</a:t>
            </a:fld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9350" tIns="59675" rIns="119350" bIns="59675" anchor="t" anchorCtr="0"/>
          <a:lstStyle>
            <a:lvl1pPr marL="465906" marR="0" lvl="0" indent="-388254" algn="l" rtl="0">
              <a:spcBef>
                <a:spcPts val="489"/>
              </a:spcBef>
              <a:spcAft>
                <a:spcPts val="0"/>
              </a:spcAft>
              <a:buClr>
                <a:srgbClr val="57595B"/>
              </a:buClr>
              <a:buSzPts val="2400"/>
              <a:buFont typeface="Arial"/>
              <a:buChar char="•"/>
              <a:defRPr sz="2445" b="0" i="0" u="none" strike="noStrike" cap="none">
                <a:solidFill>
                  <a:srgbClr val="57595B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1pPr>
            <a:lvl2pPr marL="931811" marR="0" lvl="1" indent="-362371" algn="l" rtl="0">
              <a:spcBef>
                <a:spcPts val="408"/>
              </a:spcBef>
              <a:spcAft>
                <a:spcPts val="0"/>
              </a:spcAft>
              <a:buClr>
                <a:srgbClr val="57595B"/>
              </a:buClr>
              <a:buSzPts val="2000"/>
              <a:buFont typeface="Arial"/>
              <a:buChar char="–"/>
              <a:defRPr sz="2039" b="0" i="0" u="none" strike="noStrike" cap="none">
                <a:solidFill>
                  <a:srgbClr val="57595B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2pPr>
            <a:lvl3pPr marL="1397717" marR="0" lvl="2" indent="-336488" algn="l" rtl="0">
              <a:spcBef>
                <a:spcPts val="327"/>
              </a:spcBef>
              <a:spcAft>
                <a:spcPts val="0"/>
              </a:spcAft>
              <a:buClr>
                <a:srgbClr val="57595B"/>
              </a:buClr>
              <a:buSzPts val="1600"/>
              <a:buFont typeface="Arial"/>
              <a:buChar char="•"/>
              <a:defRPr sz="1631" b="0" i="0" u="none" strike="noStrike" cap="none">
                <a:solidFill>
                  <a:srgbClr val="57595B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3pPr>
            <a:lvl4pPr marL="1863623" marR="0" lvl="3" indent="-323545" algn="l" rtl="0">
              <a:spcBef>
                <a:spcPts val="285"/>
              </a:spcBef>
              <a:spcAft>
                <a:spcPts val="0"/>
              </a:spcAft>
              <a:buClr>
                <a:srgbClr val="57595B"/>
              </a:buClr>
              <a:buSzPts val="1400"/>
              <a:buFont typeface="Arial"/>
              <a:buChar char="–"/>
              <a:defRPr sz="1427" b="0" i="0" u="none" strike="noStrike" cap="none">
                <a:solidFill>
                  <a:srgbClr val="57595B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4pPr>
            <a:lvl5pPr marL="2329528" marR="0" lvl="4" indent="-323545" algn="l" rtl="0">
              <a:spcBef>
                <a:spcPts val="285"/>
              </a:spcBef>
              <a:spcAft>
                <a:spcPts val="0"/>
              </a:spcAft>
              <a:buClr>
                <a:srgbClr val="57595B"/>
              </a:buClr>
              <a:buSzPts val="1400"/>
              <a:buFont typeface="Arial"/>
              <a:buChar char="»"/>
              <a:defRPr sz="1427" b="0" i="0" u="none" strike="noStrike" cap="none">
                <a:solidFill>
                  <a:srgbClr val="57595B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5pPr>
            <a:lvl6pPr marL="2795434" marR="0" lvl="5" indent="-401197" algn="l" rtl="0">
              <a:spcBef>
                <a:spcPts val="529"/>
              </a:spcBef>
              <a:spcAft>
                <a:spcPts val="0"/>
              </a:spcAft>
              <a:buClr>
                <a:schemeClr val="dk1"/>
              </a:buClr>
              <a:buSzPts val="2600"/>
              <a:buFont typeface="Arial"/>
              <a:buChar char="•"/>
              <a:defRPr sz="2649" b="0" i="0" u="none" strike="noStrike" cap="none">
                <a:solidFill>
                  <a:schemeClr val="dk1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6pPr>
            <a:lvl7pPr marL="3261340" marR="0" lvl="6" indent="-401197" algn="l" rtl="0">
              <a:spcBef>
                <a:spcPts val="529"/>
              </a:spcBef>
              <a:spcAft>
                <a:spcPts val="0"/>
              </a:spcAft>
              <a:buClr>
                <a:schemeClr val="dk1"/>
              </a:buClr>
              <a:buSzPts val="2600"/>
              <a:buFont typeface="Arial"/>
              <a:buChar char="•"/>
              <a:defRPr sz="2649" b="0" i="0" u="none" strike="noStrike" cap="none">
                <a:solidFill>
                  <a:schemeClr val="dk1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7pPr>
            <a:lvl8pPr marL="3727245" marR="0" lvl="7" indent="-401197" algn="l" rtl="0">
              <a:spcBef>
                <a:spcPts val="529"/>
              </a:spcBef>
              <a:spcAft>
                <a:spcPts val="0"/>
              </a:spcAft>
              <a:buClr>
                <a:schemeClr val="dk1"/>
              </a:buClr>
              <a:buSzPts val="2600"/>
              <a:buFont typeface="Arial"/>
              <a:buChar char="•"/>
              <a:defRPr sz="2649" b="0" i="0" u="none" strike="noStrike" cap="none">
                <a:solidFill>
                  <a:schemeClr val="dk1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8pPr>
            <a:lvl9pPr marL="4193151" marR="0" lvl="8" indent="-401197" algn="l" rtl="0">
              <a:spcBef>
                <a:spcPts val="529"/>
              </a:spcBef>
              <a:spcAft>
                <a:spcPts val="0"/>
              </a:spcAft>
              <a:buClr>
                <a:schemeClr val="dk1"/>
              </a:buClr>
              <a:buSzPts val="2600"/>
              <a:buFont typeface="Arial"/>
              <a:buChar char="•"/>
              <a:defRPr sz="2649" b="0" i="0" u="none" strike="noStrike" cap="none">
                <a:solidFill>
                  <a:schemeClr val="dk1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9pPr>
          </a:lstStyle>
          <a:p>
            <a:endParaRPr/>
          </a:p>
        </p:txBody>
      </p:sp>
      <p:pic>
        <p:nvPicPr>
          <p:cNvPr id="8" name="Shape 134">
            <a:extLst>
              <a:ext uri="{FF2B5EF4-FFF2-40B4-BE49-F238E27FC236}">
                <a16:creationId xmlns="" xmlns:a16="http://schemas.microsoft.com/office/drawing/2014/main" id="{9331E853-7242-44DE-92DC-28E652CF083C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0" y="-5307"/>
            <a:ext cx="12191989" cy="106496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Shape 136">
            <a:extLst>
              <a:ext uri="{FF2B5EF4-FFF2-40B4-BE49-F238E27FC236}">
                <a16:creationId xmlns="" xmlns:a16="http://schemas.microsoft.com/office/drawing/2014/main" id="{5F5B941E-444A-449E-9664-69DB36ADFA41}"/>
              </a:ext>
            </a:extLst>
          </p:cNvPr>
          <p:cNvPicPr preferRelativeResize="0"/>
          <p:nvPr userDrawn="1"/>
        </p:nvPicPr>
        <p:blipFill rotWithShape="1">
          <a:blip r:embed="rId4" cstate="screen">
            <a:alphaModFix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386939" y="110016"/>
            <a:ext cx="190995" cy="8123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23823941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37B2199-67CA-4E80-ACDD-DA074BA99C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AB0D8B82-BDC6-4976-B8DA-A1BA319A6F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BD14428F-0742-4D55-B3A6-D7F6CDA3A0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3E3124C6-9945-4329-8DF6-1F427536F2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19.12.2019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C0C3BDDA-D9AB-4FF5-8A0D-60922C4805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D6F53A0D-E434-439B-AE2C-67E1F29D57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72096165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7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242338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7ED8FFD5-0637-4947-8F58-65E6A0DAB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="" xmlns:a16="http://schemas.microsoft.com/office/drawing/2014/main" id="{4CAE27FB-40DF-4994-AE0C-66FE04860F0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068EBFDA-89A4-430C-8248-779379814C9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3B18B84D-4236-4E04-9D60-C41B69BB21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19.12.2019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29B0AC9A-D7C9-4DA6-BF7F-01A96E7B5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FED84B9D-045B-4CFD-B08D-A449FEC217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0148357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slideLayout" Target="../slideLayouts/slideLayout61.xml"/><Relationship Id="rId55" Type="http://schemas.openxmlformats.org/officeDocument/2006/relationships/slideLayout" Target="../slideLayouts/slideLayout66.xml"/><Relationship Id="rId63" Type="http://schemas.openxmlformats.org/officeDocument/2006/relationships/slideLayout" Target="../slideLayouts/slideLayout74.xml"/><Relationship Id="rId68" Type="http://schemas.openxmlformats.org/officeDocument/2006/relationships/slideLayout" Target="../slideLayouts/slideLayout79.xml"/><Relationship Id="rId7" Type="http://schemas.openxmlformats.org/officeDocument/2006/relationships/slideLayout" Target="../slideLayouts/slideLayout18.xml"/><Relationship Id="rId71" Type="http://schemas.openxmlformats.org/officeDocument/2006/relationships/vmlDrawing" Target="../drawings/vmlDrawing2.v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slideLayout" Target="../slideLayouts/slideLayout64.xml"/><Relationship Id="rId58" Type="http://schemas.openxmlformats.org/officeDocument/2006/relationships/slideLayout" Target="../slideLayouts/slideLayout69.xml"/><Relationship Id="rId66" Type="http://schemas.openxmlformats.org/officeDocument/2006/relationships/slideLayout" Target="../slideLayouts/slideLayout77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57" Type="http://schemas.openxmlformats.org/officeDocument/2006/relationships/slideLayout" Target="../slideLayouts/slideLayout68.xml"/><Relationship Id="rId61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slideLayout" Target="../slideLayouts/slideLayout63.xml"/><Relationship Id="rId60" Type="http://schemas.openxmlformats.org/officeDocument/2006/relationships/slideLayout" Target="../slideLayouts/slideLayout71.xml"/><Relationship Id="rId65" Type="http://schemas.openxmlformats.org/officeDocument/2006/relationships/slideLayout" Target="../slideLayouts/slideLayout76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56" Type="http://schemas.openxmlformats.org/officeDocument/2006/relationships/slideLayout" Target="../slideLayouts/slideLayout67.xml"/><Relationship Id="rId64" Type="http://schemas.openxmlformats.org/officeDocument/2006/relationships/slideLayout" Target="../slideLayouts/slideLayout75.xml"/><Relationship Id="rId69" Type="http://schemas.openxmlformats.org/officeDocument/2006/relationships/slideLayout" Target="../slideLayouts/slideLayout80.xml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72" Type="http://schemas.openxmlformats.org/officeDocument/2006/relationships/oleObject" Target="../embeddings/oleObject2.bin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59" Type="http://schemas.openxmlformats.org/officeDocument/2006/relationships/slideLayout" Target="../slideLayouts/slideLayout70.xml"/><Relationship Id="rId67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slideLayout" Target="../slideLayouts/slideLayout65.xml"/><Relationship Id="rId62" Type="http://schemas.openxmlformats.org/officeDocument/2006/relationships/slideLayout" Target="../slideLayouts/slideLayout73.xml"/><Relationship Id="rId70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="" xmlns:a16="http://schemas.microsoft.com/office/drawing/2014/main" id="{74EAA302-6CCA-4874-83BD-B48BE6E1A0C6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4206252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88074" name="Слайд think-cell" r:id="rId15" imgW="360" imgH="360" progId="">
              <p:embed/>
            </p:oleObj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="" xmlns:a16="http://schemas.microsoft.com/office/drawing/2014/main" id="{26C72FED-AA26-4834-9FBB-AC53987ECFA8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7FECAF7-648F-464B-9E91-ABEBD72C6E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D402C36D-A92C-4A3E-8535-C8EAA7439D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6639058C-DD3C-49BF-AB0D-E4F4EFD846D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FD6625-7394-47F9-B2BD-3A01A0C820CD}" type="datetimeFigureOut">
              <a:rPr lang="ru-RU" smtClean="0"/>
              <a:pPr/>
              <a:t>19.12.2019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20289390-5455-4478-98C2-B3951CCE4C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495EE232-6806-4D19-97E3-DB81575A03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168604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203" name="Слайд think-cell" r:id="rId72" imgW="360" imgH="360" progId="">
              <p:embed/>
            </p:oleObj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xmlns="" val="1020346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8" r:id="rId26"/>
    <p:sldLayoutId id="2147483689" r:id="rId27"/>
    <p:sldLayoutId id="2147483690" r:id="rId28"/>
    <p:sldLayoutId id="2147483691" r:id="rId29"/>
    <p:sldLayoutId id="2147483692" r:id="rId30"/>
    <p:sldLayoutId id="2147483693" r:id="rId31"/>
    <p:sldLayoutId id="2147483694" r:id="rId32"/>
    <p:sldLayoutId id="2147483695" r:id="rId33"/>
    <p:sldLayoutId id="2147483696" r:id="rId34"/>
    <p:sldLayoutId id="2147483697" r:id="rId35"/>
    <p:sldLayoutId id="2147483698" r:id="rId36"/>
    <p:sldLayoutId id="2147483699" r:id="rId37"/>
    <p:sldLayoutId id="2147483700" r:id="rId38"/>
    <p:sldLayoutId id="2147483701" r:id="rId39"/>
    <p:sldLayoutId id="2147483702" r:id="rId40"/>
    <p:sldLayoutId id="2147483703" r:id="rId41"/>
    <p:sldLayoutId id="2147483704" r:id="rId42"/>
    <p:sldLayoutId id="2147483705" r:id="rId43"/>
    <p:sldLayoutId id="2147483706" r:id="rId44"/>
    <p:sldLayoutId id="2147483707" r:id="rId45"/>
    <p:sldLayoutId id="2147483708" r:id="rId46"/>
    <p:sldLayoutId id="2147483709" r:id="rId47"/>
    <p:sldLayoutId id="2147483710" r:id="rId48"/>
    <p:sldLayoutId id="2147483711" r:id="rId49"/>
    <p:sldLayoutId id="2147483712" r:id="rId50"/>
    <p:sldLayoutId id="2147483713" r:id="rId51"/>
    <p:sldLayoutId id="2147483714" r:id="rId52"/>
    <p:sldLayoutId id="2147483715" r:id="rId53"/>
    <p:sldLayoutId id="2147483716" r:id="rId54"/>
    <p:sldLayoutId id="2147483717" r:id="rId55"/>
    <p:sldLayoutId id="2147483718" r:id="rId56"/>
    <p:sldLayoutId id="2147483719" r:id="rId57"/>
    <p:sldLayoutId id="2147483720" r:id="rId58"/>
    <p:sldLayoutId id="2147483721" r:id="rId59"/>
    <p:sldLayoutId id="2147483722" r:id="rId60"/>
    <p:sldLayoutId id="2147483723" r:id="rId61"/>
    <p:sldLayoutId id="2147483724" r:id="rId62"/>
    <p:sldLayoutId id="2147483725" r:id="rId63"/>
    <p:sldLayoutId id="2147483726" r:id="rId64"/>
    <p:sldLayoutId id="2147483727" r:id="rId65"/>
    <p:sldLayoutId id="2147483728" r:id="rId66"/>
    <p:sldLayoutId id="2147483729" r:id="rId67"/>
    <p:sldLayoutId id="2147483730" r:id="rId68"/>
    <p:sldLayoutId id="2147483731" r:id="rId69"/>
  </p:sldLayoutIdLst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595959"/>
          </a:solidFill>
          <a:latin typeface="PT Sans Caption" panose="020B0603020203020204" charset="0"/>
          <a:ea typeface="+mj-ea"/>
          <a:cs typeface="+mj-cs"/>
          <a:sym typeface="PT Sans Caption" panose="020B060302020302020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•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595959"/>
        </a:buClr>
        <a:buFont typeface="Trebuchet MS" panose="020B0603020202020204" pitchFamily="34" charset="0"/>
        <a:buChar char="–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6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600" b="1" kern="120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595959"/>
        </a:buClr>
        <a:buFont typeface="Arial" panose="020B0604020202020204" pitchFamily="34" charset="0"/>
        <a:buChar char="•"/>
        <a:defRPr lang="en-US" sz="1600" kern="120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595959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595959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595959"/>
        </a:buClr>
        <a:buFont typeface="Arial" panose="020B0604020202020204" pitchFamily="34" charset="0"/>
        <a:buChar char="​"/>
        <a:defRPr lang="en-US" sz="2400" kern="1200" baseline="0" dirty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7.png"/><Relationship Id="rId4" Type="http://schemas.openxmlformats.org/officeDocument/2006/relationships/image" Target="../media/image2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972000"/>
          </a:xfrm>
          <a:solidFill>
            <a:schemeClr val="accent6">
              <a:lumMod val="60000"/>
              <a:lumOff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pPr algn="ctr"/>
            <a:r>
              <a:rPr lang="bg-BG" sz="2400" b="1" dirty="0" smtClean="0">
                <a:solidFill>
                  <a:schemeClr val="bg1"/>
                </a:solidFill>
              </a:rPr>
              <a:t>Перечень товарных групп, </a:t>
            </a:r>
            <a:br>
              <a:rPr lang="bg-BG" sz="2400" b="1" dirty="0" smtClean="0">
                <a:solidFill>
                  <a:schemeClr val="bg1"/>
                </a:solidFill>
              </a:rPr>
            </a:br>
            <a:r>
              <a:rPr lang="bg-BG" sz="2400" b="1" dirty="0" smtClean="0">
                <a:solidFill>
                  <a:schemeClr val="bg1"/>
                </a:solidFill>
              </a:rPr>
              <a:t>подлежащих обязательной </a:t>
            </a:r>
            <a:r>
              <a:rPr lang="bg-BG" sz="2400" b="1" dirty="0">
                <a:solidFill>
                  <a:schemeClr val="bg1"/>
                </a:solidFill>
              </a:rPr>
              <a:t>маркировке в </a:t>
            </a:r>
            <a:r>
              <a:rPr lang="bg-BG" sz="2400" b="1" dirty="0">
                <a:solidFill>
                  <a:schemeClr val="bg1"/>
                </a:solidFill>
                <a:sym typeface="PT Sans Caption" panose="020B0603020203020204" pitchFamily="34" charset="0"/>
              </a:rPr>
              <a:t>Российской Федерации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24" name="ee4pHeader1">
            <a:extLst>
              <a:ext uri="{FF2B5EF4-FFF2-40B4-BE49-F238E27FC236}">
                <a16:creationId xmlns="" xmlns:a16="http://schemas.microsoft.com/office/drawing/2014/main" id="{06D6AD0B-EBE8-40FD-AD2E-516BB8F58E93}"/>
              </a:ext>
            </a:extLst>
          </p:cNvPr>
          <p:cNvSpPr txBox="1"/>
          <p:nvPr/>
        </p:nvSpPr>
        <p:spPr>
          <a:xfrm>
            <a:off x="257175" y="1598004"/>
            <a:ext cx="11769123" cy="276999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/>
            <a:r>
              <a:rPr lang="ru-RU" b="1" u="sng" dirty="0" smtClean="0">
                <a:cs typeface="Times New Roman" pitchFamily="18" charset="0"/>
                <a:sym typeface="PT Sans Caption" panose="020B0603020203020204" pitchFamily="34" charset="0"/>
              </a:rPr>
              <a:t>Сроки введения обязательной маркировки средствами идентификации в </a:t>
            </a:r>
            <a:r>
              <a:rPr lang="ru-RU" b="1" u="sng" dirty="0">
                <a:cs typeface="Times New Roman" pitchFamily="18" charset="0"/>
                <a:sym typeface="PT Sans Caption" panose="020B0603020203020204" pitchFamily="34" charset="0"/>
              </a:rPr>
              <a:t>отношении определенных товарных групп:</a:t>
            </a:r>
          </a:p>
        </p:txBody>
      </p:sp>
      <p:sp>
        <p:nvSpPr>
          <p:cNvPr id="25" name="Rectangle 50">
            <a:extLst>
              <a:ext uri="{FF2B5EF4-FFF2-40B4-BE49-F238E27FC236}">
                <a16:creationId xmlns="" xmlns:a16="http://schemas.microsoft.com/office/drawing/2014/main" id="{6E062A42-D3CA-47A2-9802-57D9EA2C11B2}"/>
              </a:ext>
            </a:extLst>
          </p:cNvPr>
          <p:cNvSpPr/>
          <p:nvPr/>
        </p:nvSpPr>
        <p:spPr>
          <a:xfrm>
            <a:off x="463100" y="2038832"/>
            <a:ext cx="760532" cy="243301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6F42E"/>
              </a:solidFill>
            </a:endParaRPr>
          </a:p>
        </p:txBody>
      </p:sp>
      <p:sp>
        <p:nvSpPr>
          <p:cNvPr id="26" name="Rectangle 53">
            <a:extLst>
              <a:ext uri="{FF2B5EF4-FFF2-40B4-BE49-F238E27FC236}">
                <a16:creationId xmlns="" xmlns:a16="http://schemas.microsoft.com/office/drawing/2014/main" id="{B353059F-D5A3-42AD-8E00-1F07A753D380}"/>
              </a:ext>
            </a:extLst>
          </p:cNvPr>
          <p:cNvSpPr/>
          <p:nvPr/>
        </p:nvSpPr>
        <p:spPr>
          <a:xfrm>
            <a:off x="1221928" y="2038833"/>
            <a:ext cx="1339111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Rectangle 54">
            <a:extLst>
              <a:ext uri="{FF2B5EF4-FFF2-40B4-BE49-F238E27FC236}">
                <a16:creationId xmlns="" xmlns:a16="http://schemas.microsoft.com/office/drawing/2014/main" id="{6CA9623E-9ED6-4CBC-AD20-F8AA4D607CF3}"/>
              </a:ext>
            </a:extLst>
          </p:cNvPr>
          <p:cNvSpPr/>
          <p:nvPr/>
        </p:nvSpPr>
        <p:spPr>
          <a:xfrm>
            <a:off x="2559767" y="2038833"/>
            <a:ext cx="2097939" cy="252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8" name="Rectangle 50">
            <a:extLst>
              <a:ext uri="{FF2B5EF4-FFF2-40B4-BE49-F238E27FC236}">
                <a16:creationId xmlns="" xmlns:a16="http://schemas.microsoft.com/office/drawing/2014/main" id="{26AE7A40-7848-454D-92B8-51C7A34E95DE}"/>
              </a:ext>
            </a:extLst>
          </p:cNvPr>
          <p:cNvSpPr/>
          <p:nvPr/>
        </p:nvSpPr>
        <p:spPr>
          <a:xfrm>
            <a:off x="9474498" y="2038833"/>
            <a:ext cx="2304000" cy="251179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6F42E"/>
              </a:solidFill>
            </a:endParaRPr>
          </a:p>
        </p:txBody>
      </p:sp>
      <p:sp>
        <p:nvSpPr>
          <p:cNvPr id="29" name="Rectangle 54">
            <a:extLst>
              <a:ext uri="{FF2B5EF4-FFF2-40B4-BE49-F238E27FC236}">
                <a16:creationId xmlns="" xmlns:a16="http://schemas.microsoft.com/office/drawing/2014/main" id="{90AB3BF3-B176-4A79-A7FE-F2230DADA019}"/>
              </a:ext>
            </a:extLst>
          </p:cNvPr>
          <p:cNvSpPr/>
          <p:nvPr/>
        </p:nvSpPr>
        <p:spPr>
          <a:xfrm>
            <a:off x="4657706" y="2038833"/>
            <a:ext cx="4815713" cy="252000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0" name="TextBox 63">
            <a:extLst>
              <a:ext uri="{FF2B5EF4-FFF2-40B4-BE49-F238E27FC236}">
                <a16:creationId xmlns="" xmlns:a16="http://schemas.microsoft.com/office/drawing/2014/main" id="{3B2B16FA-6D5B-4A23-95D1-735F4CEE90E8}"/>
              </a:ext>
            </a:extLst>
          </p:cNvPr>
          <p:cNvSpPr txBox="1"/>
          <p:nvPr/>
        </p:nvSpPr>
        <p:spPr>
          <a:xfrm>
            <a:off x="9540996" y="2857931"/>
            <a:ext cx="1314281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1215253">
              <a:defRPr sz="1200">
                <a:solidFill>
                  <a:srgbClr val="58595B"/>
                </a:solidFill>
              </a:defRPr>
            </a:pPr>
            <a:r>
              <a:rPr lang="ru-RU" sz="1100" dirty="0">
                <a:solidFill>
                  <a:srgbClr val="58595B"/>
                </a:solidFill>
                <a:ea typeface="PT Sans Caption" panose="020B0604020202020204" charset="-52"/>
                <a:cs typeface="Times New Roman" pitchFamily="18" charset="0"/>
              </a:rPr>
              <a:t>Все лекарственные средства</a:t>
            </a:r>
          </a:p>
        </p:txBody>
      </p:sp>
      <p:sp>
        <p:nvSpPr>
          <p:cNvPr id="31" name="Freeform 67">
            <a:extLst>
              <a:ext uri="{FF2B5EF4-FFF2-40B4-BE49-F238E27FC236}">
                <a16:creationId xmlns="" xmlns:a16="http://schemas.microsoft.com/office/drawing/2014/main" id="{27B3835F-6211-4CDE-AAE1-966101204D1E}"/>
              </a:ext>
            </a:extLst>
          </p:cNvPr>
          <p:cNvSpPr/>
          <p:nvPr/>
        </p:nvSpPr>
        <p:spPr>
          <a:xfrm>
            <a:off x="3975160" y="2445072"/>
            <a:ext cx="180000" cy="360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9695"/>
                </a:moveTo>
                <a:cubicBezTo>
                  <a:pt x="0" y="4443"/>
                  <a:pt x="0" y="4443"/>
                  <a:pt x="0" y="4443"/>
                </a:cubicBezTo>
                <a:cubicBezTo>
                  <a:pt x="0" y="1988"/>
                  <a:pt x="4833" y="0"/>
                  <a:pt x="10800" y="0"/>
                </a:cubicBezTo>
                <a:cubicBezTo>
                  <a:pt x="16767" y="0"/>
                  <a:pt x="21600" y="1988"/>
                  <a:pt x="21600" y="4443"/>
                </a:cubicBezTo>
                <a:cubicBezTo>
                  <a:pt x="21600" y="9720"/>
                  <a:pt x="21600" y="9720"/>
                  <a:pt x="21600" y="9720"/>
                </a:cubicBezTo>
                <a:cubicBezTo>
                  <a:pt x="20466" y="9941"/>
                  <a:pt x="20466" y="9941"/>
                  <a:pt x="20466" y="9941"/>
                </a:cubicBezTo>
                <a:cubicBezTo>
                  <a:pt x="17901" y="10407"/>
                  <a:pt x="14499" y="10677"/>
                  <a:pt x="10860" y="10677"/>
                </a:cubicBezTo>
                <a:cubicBezTo>
                  <a:pt x="7220" y="10677"/>
                  <a:pt x="3819" y="10407"/>
                  <a:pt x="1313" y="9941"/>
                </a:cubicBezTo>
                <a:cubicBezTo>
                  <a:pt x="1253" y="9941"/>
                  <a:pt x="1193" y="9916"/>
                  <a:pt x="1134" y="9916"/>
                </a:cubicBezTo>
                <a:lnTo>
                  <a:pt x="0" y="9695"/>
                </a:lnTo>
                <a:close/>
                <a:moveTo>
                  <a:pt x="2625" y="12420"/>
                </a:moveTo>
                <a:cubicBezTo>
                  <a:pt x="2625" y="17157"/>
                  <a:pt x="2625" y="17157"/>
                  <a:pt x="2625" y="17157"/>
                </a:cubicBezTo>
                <a:cubicBezTo>
                  <a:pt x="2625" y="19023"/>
                  <a:pt x="6325" y="20520"/>
                  <a:pt x="10800" y="20520"/>
                </a:cubicBezTo>
                <a:cubicBezTo>
                  <a:pt x="15275" y="20520"/>
                  <a:pt x="18975" y="19023"/>
                  <a:pt x="18975" y="17157"/>
                </a:cubicBezTo>
                <a:cubicBezTo>
                  <a:pt x="18975" y="12420"/>
                  <a:pt x="18975" y="12420"/>
                  <a:pt x="18975" y="12420"/>
                </a:cubicBezTo>
                <a:cubicBezTo>
                  <a:pt x="16469" y="12690"/>
                  <a:pt x="13724" y="12837"/>
                  <a:pt x="10860" y="12837"/>
                </a:cubicBezTo>
                <a:cubicBezTo>
                  <a:pt x="7996" y="12837"/>
                  <a:pt x="5131" y="12690"/>
                  <a:pt x="2625" y="12420"/>
                </a:cubicBezTo>
                <a:moveTo>
                  <a:pt x="0" y="10874"/>
                </a:moveTo>
                <a:cubicBezTo>
                  <a:pt x="60" y="10898"/>
                  <a:pt x="179" y="10923"/>
                  <a:pt x="239" y="10923"/>
                </a:cubicBezTo>
                <a:cubicBezTo>
                  <a:pt x="3103" y="11463"/>
                  <a:pt x="6862" y="11757"/>
                  <a:pt x="10860" y="11757"/>
                </a:cubicBezTo>
                <a:cubicBezTo>
                  <a:pt x="14857" y="11757"/>
                  <a:pt x="18676" y="11463"/>
                  <a:pt x="21540" y="10923"/>
                </a:cubicBezTo>
                <a:cubicBezTo>
                  <a:pt x="21540" y="10923"/>
                  <a:pt x="21540" y="10923"/>
                  <a:pt x="21600" y="10923"/>
                </a:cubicBezTo>
                <a:cubicBezTo>
                  <a:pt x="21600" y="17157"/>
                  <a:pt x="21600" y="17157"/>
                  <a:pt x="21600" y="17157"/>
                </a:cubicBezTo>
                <a:cubicBezTo>
                  <a:pt x="21600" y="19612"/>
                  <a:pt x="16767" y="21600"/>
                  <a:pt x="10800" y="21600"/>
                </a:cubicBezTo>
                <a:cubicBezTo>
                  <a:pt x="4833" y="21600"/>
                  <a:pt x="0" y="19612"/>
                  <a:pt x="0" y="17157"/>
                </a:cubicBezTo>
                <a:cubicBezTo>
                  <a:pt x="0" y="10874"/>
                  <a:pt x="0" y="10874"/>
                  <a:pt x="0" y="10874"/>
                </a:cubicBezTo>
                <a:close/>
              </a:path>
            </a:pathLst>
          </a:custGeom>
          <a:solidFill>
            <a:srgbClr val="595959"/>
          </a:solidFill>
          <a:ln w="12700">
            <a:miter lim="400000"/>
          </a:ln>
        </p:spPr>
        <p:txBody>
          <a:bodyPr lIns="45481" rIns="45481"/>
          <a:lstStyle/>
          <a:p>
            <a:pPr defTabSz="1215253">
              <a:defRPr sz="2200"/>
            </a:pPr>
            <a:endParaRPr lang="ru-RU" sz="2190" dirty="0">
              <a:solidFill>
                <a:srgbClr val="212121">
                  <a:lumOff val="21764"/>
                </a:srgbClr>
              </a:solidFill>
            </a:endParaRPr>
          </a:p>
        </p:txBody>
      </p:sp>
      <p:sp>
        <p:nvSpPr>
          <p:cNvPr id="32" name="TextBox 63">
            <a:extLst>
              <a:ext uri="{FF2B5EF4-FFF2-40B4-BE49-F238E27FC236}">
                <a16:creationId xmlns="" xmlns:a16="http://schemas.microsoft.com/office/drawing/2014/main" id="{BB58694B-CDE7-427C-AB75-C6096628CA5B}"/>
              </a:ext>
            </a:extLst>
          </p:cNvPr>
          <p:cNvSpPr txBox="1"/>
          <p:nvPr/>
        </p:nvSpPr>
        <p:spPr>
          <a:xfrm>
            <a:off x="3157471" y="2857931"/>
            <a:ext cx="179621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1215253">
              <a:defRPr sz="1200">
                <a:solidFill>
                  <a:srgbClr val="58595B"/>
                </a:solidFill>
              </a:defRPr>
            </a:pPr>
            <a:r>
              <a:rPr lang="ru-RU" sz="1100" dirty="0">
                <a:solidFill>
                  <a:srgbClr val="58595B"/>
                </a:solidFill>
                <a:ea typeface="PT Sans Caption" panose="020B0604020202020204" charset="-52"/>
              </a:rPr>
              <a:t>Лекарства </a:t>
            </a:r>
          </a:p>
          <a:p>
            <a:pPr algn="ctr" defTabSz="1215253">
              <a:defRPr sz="1200">
                <a:solidFill>
                  <a:srgbClr val="58595B"/>
                </a:solidFill>
              </a:defRPr>
            </a:pPr>
            <a:r>
              <a:rPr lang="ru-RU" sz="1100" dirty="0">
                <a:solidFill>
                  <a:srgbClr val="58595B"/>
                </a:solidFill>
                <a:ea typeface="PT Sans Caption" panose="020B0604020202020204" charset="-52"/>
              </a:rPr>
              <a:t>категории ВЗН</a:t>
            </a:r>
          </a:p>
        </p:txBody>
      </p:sp>
      <p:sp>
        <p:nvSpPr>
          <p:cNvPr id="33" name="Rectangle 24">
            <a:extLst>
              <a:ext uri="{FF2B5EF4-FFF2-40B4-BE49-F238E27FC236}">
                <a16:creationId xmlns="" xmlns:a16="http://schemas.microsoft.com/office/drawing/2014/main" id="{D21ABB35-574C-4711-9268-7181FD8923EC}"/>
              </a:ext>
            </a:extLst>
          </p:cNvPr>
          <p:cNvSpPr/>
          <p:nvPr/>
        </p:nvSpPr>
        <p:spPr>
          <a:xfrm>
            <a:off x="613142" y="2035912"/>
            <a:ext cx="512961" cy="24622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defTabSz="1215253"/>
            <a:r>
              <a:rPr lang="ru-RU" sz="1600" dirty="0">
                <a:solidFill>
                  <a:srgbClr val="595959"/>
                </a:solidFill>
              </a:rPr>
              <a:t>2019</a:t>
            </a:r>
            <a:r>
              <a:rPr lang="ru-RU" sz="16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34" name="Rectangle 43">
            <a:extLst>
              <a:ext uri="{FF2B5EF4-FFF2-40B4-BE49-F238E27FC236}">
                <a16:creationId xmlns="" xmlns:a16="http://schemas.microsoft.com/office/drawing/2014/main" id="{0F937087-9DD8-4B36-ACA1-768BCEE68063}"/>
              </a:ext>
            </a:extLst>
          </p:cNvPr>
          <p:cNvSpPr txBox="1"/>
          <p:nvPr/>
        </p:nvSpPr>
        <p:spPr>
          <a:xfrm>
            <a:off x="1491662" y="2035912"/>
            <a:ext cx="668324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defTabSz="1215253"/>
            <a:r>
              <a:rPr lang="ru-RU" sz="1400" dirty="0"/>
              <a:t>1 марта</a:t>
            </a:r>
          </a:p>
        </p:txBody>
      </p:sp>
      <p:sp>
        <p:nvSpPr>
          <p:cNvPr id="35" name="Rectangle 44">
            <a:extLst>
              <a:ext uri="{FF2B5EF4-FFF2-40B4-BE49-F238E27FC236}">
                <a16:creationId xmlns="" xmlns:a16="http://schemas.microsoft.com/office/drawing/2014/main" id="{832A9223-FB5A-44BA-8B58-6EE647EE1FA4}"/>
              </a:ext>
            </a:extLst>
          </p:cNvPr>
          <p:cNvSpPr txBox="1"/>
          <p:nvPr/>
        </p:nvSpPr>
        <p:spPr>
          <a:xfrm>
            <a:off x="3246458" y="2035912"/>
            <a:ext cx="622414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defTabSz="1215253"/>
            <a:r>
              <a:rPr lang="ru-RU" sz="1400" dirty="0"/>
              <a:t>1 июля</a:t>
            </a:r>
          </a:p>
        </p:txBody>
      </p:sp>
      <p:sp>
        <p:nvSpPr>
          <p:cNvPr id="36" name="Rectangle 45">
            <a:extLst>
              <a:ext uri="{FF2B5EF4-FFF2-40B4-BE49-F238E27FC236}">
                <a16:creationId xmlns="" xmlns:a16="http://schemas.microsoft.com/office/drawing/2014/main" id="{A72BD2F6-885E-4881-BF8F-DBBE800C2C65}"/>
              </a:ext>
            </a:extLst>
          </p:cNvPr>
          <p:cNvSpPr txBox="1"/>
          <p:nvPr/>
        </p:nvSpPr>
        <p:spPr>
          <a:xfrm>
            <a:off x="6548177" y="2035912"/>
            <a:ext cx="870366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defTabSz="1215253"/>
            <a:r>
              <a:rPr lang="ru-RU" sz="1400" dirty="0"/>
              <a:t>1 декабря</a:t>
            </a:r>
          </a:p>
        </p:txBody>
      </p:sp>
      <p:sp>
        <p:nvSpPr>
          <p:cNvPr id="37" name="Rectangle 24">
            <a:extLst>
              <a:ext uri="{FF2B5EF4-FFF2-40B4-BE49-F238E27FC236}">
                <a16:creationId xmlns="" xmlns:a16="http://schemas.microsoft.com/office/drawing/2014/main" id="{C1CDE7F0-EEE8-44D2-B6E7-549EBD995DA2}"/>
              </a:ext>
            </a:extLst>
          </p:cNvPr>
          <p:cNvSpPr/>
          <p:nvPr/>
        </p:nvSpPr>
        <p:spPr>
          <a:xfrm>
            <a:off x="10278351" y="2035912"/>
            <a:ext cx="512961" cy="24622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defTabSz="1215253"/>
            <a:r>
              <a:rPr lang="ru-RU" sz="1600" dirty="0">
                <a:solidFill>
                  <a:srgbClr val="595959"/>
                </a:solidFill>
              </a:rPr>
              <a:t>2020</a:t>
            </a:r>
            <a:r>
              <a:rPr lang="ru-RU" sz="16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38" name="Straight Connector 17">
            <a:extLst>
              <a:ext uri="{FF2B5EF4-FFF2-40B4-BE49-F238E27FC236}">
                <a16:creationId xmlns="" xmlns:a16="http://schemas.microsoft.com/office/drawing/2014/main" id="{1BBC563B-9E04-4F33-9642-149B50A9BF0F}"/>
              </a:ext>
            </a:extLst>
          </p:cNvPr>
          <p:cNvSpPr/>
          <p:nvPr/>
        </p:nvSpPr>
        <p:spPr>
          <a:xfrm flipH="1">
            <a:off x="2561038" y="2293187"/>
            <a:ext cx="1" cy="1080000"/>
          </a:xfrm>
          <a:prstGeom prst="line">
            <a:avLst/>
          </a:prstGeom>
          <a:ln w="19050" cap="rnd">
            <a:solidFill>
              <a:srgbClr val="F6E700"/>
            </a:solidFill>
            <a:prstDash val="sysDot"/>
          </a:ln>
        </p:spPr>
        <p:txBody>
          <a:bodyPr lIns="45481" rIns="45481"/>
          <a:lstStyle/>
          <a:p>
            <a:pPr defTabSz="1215253"/>
            <a:endParaRPr lang="ru-RU" sz="2288" dirty="0">
              <a:solidFill>
                <a:srgbClr val="212121">
                  <a:lumOff val="21764"/>
                </a:srgbClr>
              </a:solidFill>
            </a:endParaRPr>
          </a:p>
        </p:txBody>
      </p:sp>
      <p:sp>
        <p:nvSpPr>
          <p:cNvPr id="39" name="Straight Connector 17">
            <a:extLst>
              <a:ext uri="{FF2B5EF4-FFF2-40B4-BE49-F238E27FC236}">
                <a16:creationId xmlns="" xmlns:a16="http://schemas.microsoft.com/office/drawing/2014/main" id="{6F03D294-7192-4A03-A63D-134993797988}"/>
              </a:ext>
            </a:extLst>
          </p:cNvPr>
          <p:cNvSpPr/>
          <p:nvPr/>
        </p:nvSpPr>
        <p:spPr>
          <a:xfrm flipH="1">
            <a:off x="4658087" y="2290012"/>
            <a:ext cx="1" cy="1080000"/>
          </a:xfrm>
          <a:prstGeom prst="line">
            <a:avLst/>
          </a:prstGeom>
          <a:ln w="19050" cap="rnd">
            <a:solidFill>
              <a:srgbClr val="F6E700"/>
            </a:solidFill>
            <a:prstDash val="sysDot"/>
          </a:ln>
        </p:spPr>
        <p:txBody>
          <a:bodyPr lIns="45481" rIns="45481"/>
          <a:lstStyle/>
          <a:p>
            <a:pPr defTabSz="1215253"/>
            <a:endParaRPr lang="ru-RU" sz="2288" dirty="0">
              <a:solidFill>
                <a:srgbClr val="212121">
                  <a:lumOff val="21764"/>
                </a:srgbClr>
              </a:solidFill>
            </a:endParaRPr>
          </a:p>
        </p:txBody>
      </p:sp>
      <p:sp>
        <p:nvSpPr>
          <p:cNvPr id="40" name="Straight Connector 17">
            <a:extLst>
              <a:ext uri="{FF2B5EF4-FFF2-40B4-BE49-F238E27FC236}">
                <a16:creationId xmlns="" xmlns:a16="http://schemas.microsoft.com/office/drawing/2014/main" id="{0FEF6242-8BD4-4A9E-9DBB-5C0A9D127ADE}"/>
              </a:ext>
            </a:extLst>
          </p:cNvPr>
          <p:cNvSpPr/>
          <p:nvPr/>
        </p:nvSpPr>
        <p:spPr>
          <a:xfrm flipH="1">
            <a:off x="9474077" y="2293187"/>
            <a:ext cx="1" cy="1080000"/>
          </a:xfrm>
          <a:prstGeom prst="line">
            <a:avLst/>
          </a:prstGeom>
          <a:ln w="19050" cap="rnd">
            <a:solidFill>
              <a:srgbClr val="F6E700"/>
            </a:solidFill>
            <a:prstDash val="sysDot"/>
          </a:ln>
        </p:spPr>
        <p:txBody>
          <a:bodyPr lIns="45481" rIns="45481"/>
          <a:lstStyle/>
          <a:p>
            <a:pPr defTabSz="1215253"/>
            <a:endParaRPr lang="ru-RU" sz="2288" dirty="0">
              <a:solidFill>
                <a:srgbClr val="212121">
                  <a:lumOff val="21764"/>
                </a:srgbClr>
              </a:solidFill>
            </a:endParaRPr>
          </a:p>
        </p:txBody>
      </p:sp>
      <p:sp>
        <p:nvSpPr>
          <p:cNvPr id="41" name="TextBox 6">
            <a:extLst>
              <a:ext uri="{FF2B5EF4-FFF2-40B4-BE49-F238E27FC236}">
                <a16:creationId xmlns="" xmlns:a16="http://schemas.microsoft.com/office/drawing/2014/main" id="{392A4A9C-0DEF-459F-B12D-5AFE2627076F}"/>
              </a:ext>
            </a:extLst>
          </p:cNvPr>
          <p:cNvSpPr txBox="1"/>
          <p:nvPr/>
        </p:nvSpPr>
        <p:spPr>
          <a:xfrm>
            <a:off x="2459901" y="2857931"/>
            <a:ext cx="1237014" cy="3385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>
              <a:defRPr sz="1200">
                <a:solidFill>
                  <a:srgbClr val="58595B"/>
                </a:solidFill>
              </a:defRPr>
            </a:lvl1pPr>
          </a:lstStyle>
          <a:p>
            <a:pPr defTabSz="1215253"/>
            <a:r>
              <a:rPr lang="ru-RU" sz="1100" dirty="0">
                <a:ea typeface="PT Sans Caption" panose="020B0604020202020204" charset="-52"/>
              </a:rPr>
              <a:t>Обувные</a:t>
            </a:r>
          </a:p>
          <a:p>
            <a:pPr defTabSz="1215253"/>
            <a:r>
              <a:rPr lang="ru-RU" sz="1100" dirty="0">
                <a:ea typeface="PT Sans Caption" panose="020B0604020202020204" charset="-52"/>
                <a:cs typeface="Times New Roman" pitchFamily="18" charset="0"/>
              </a:rPr>
              <a:t>товары</a:t>
            </a:r>
          </a:p>
        </p:txBody>
      </p:sp>
      <p:pic>
        <p:nvPicPr>
          <p:cNvPr id="42" name="Picture 10" descr="Picture 10">
            <a:extLst>
              <a:ext uri="{FF2B5EF4-FFF2-40B4-BE49-F238E27FC236}">
                <a16:creationId xmlns="" xmlns:a16="http://schemas.microsoft.com/office/drawing/2014/main" id="{D181F9F9-1234-435F-B994-306292906E15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874587" y="2445072"/>
            <a:ext cx="372705" cy="288000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43" name="TextBox 56">
            <a:extLst>
              <a:ext uri="{FF2B5EF4-FFF2-40B4-BE49-F238E27FC236}">
                <a16:creationId xmlns="" xmlns:a16="http://schemas.microsoft.com/office/drawing/2014/main" id="{F8452D0C-EC6D-495D-8054-1682FC4451E0}"/>
              </a:ext>
            </a:extLst>
          </p:cNvPr>
          <p:cNvSpPr txBox="1"/>
          <p:nvPr/>
        </p:nvSpPr>
        <p:spPr>
          <a:xfrm>
            <a:off x="1215860" y="2857931"/>
            <a:ext cx="1237014" cy="1692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>
              <a:defRPr sz="1200">
                <a:solidFill>
                  <a:srgbClr val="58595B"/>
                </a:solidFill>
              </a:defRPr>
            </a:lvl1pPr>
          </a:lstStyle>
          <a:p>
            <a:pPr defTabSz="1215253"/>
            <a:r>
              <a:rPr lang="ru-RU" sz="1100" dirty="0">
                <a:ea typeface="PT Sans Caption" panose="020B0604020202020204" charset="-52"/>
                <a:cs typeface="Times New Roman" pitchFamily="18" charset="0"/>
              </a:rPr>
              <a:t>Табачная</a:t>
            </a:r>
            <a:r>
              <a:rPr lang="ru-RU" sz="1100" dirty="0">
                <a:ea typeface="PT Sans Caption" panose="020B0604020202020204" charset="-52"/>
              </a:rPr>
              <a:t> продукция</a:t>
            </a:r>
          </a:p>
        </p:txBody>
      </p:sp>
      <p:pic>
        <p:nvPicPr>
          <p:cNvPr id="44" name="Picture 8" descr="Picture 8">
            <a:extLst>
              <a:ext uri="{FF2B5EF4-FFF2-40B4-BE49-F238E27FC236}">
                <a16:creationId xmlns="" xmlns:a16="http://schemas.microsoft.com/office/drawing/2014/main" id="{35BF9BD0-1CFC-4260-BDAC-82651A74B24C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25915" y="2445072"/>
            <a:ext cx="395999" cy="396000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45" name="TextBox 8">
            <a:extLst>
              <a:ext uri="{FF2B5EF4-FFF2-40B4-BE49-F238E27FC236}">
                <a16:creationId xmlns="" xmlns:a16="http://schemas.microsoft.com/office/drawing/2014/main" id="{C0FBA32F-9DAF-476A-9B77-6F25CFD20F2B}"/>
              </a:ext>
            </a:extLst>
          </p:cNvPr>
          <p:cNvSpPr txBox="1"/>
          <p:nvPr/>
        </p:nvSpPr>
        <p:spPr>
          <a:xfrm>
            <a:off x="5846874" y="2857931"/>
            <a:ext cx="1042800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1215253">
              <a:defRPr sz="1200">
                <a:solidFill>
                  <a:srgbClr val="58595B"/>
                </a:solidFill>
              </a:defRPr>
            </a:pPr>
            <a:r>
              <a:rPr lang="ru-RU" sz="1100" dirty="0">
                <a:solidFill>
                  <a:srgbClr val="58595B"/>
                </a:solidFill>
                <a:ea typeface="PT Sans Caption" panose="020B0604020202020204" charset="-52"/>
              </a:rPr>
              <a:t>Духи и туалетная </a:t>
            </a:r>
          </a:p>
          <a:p>
            <a:pPr algn="ctr" defTabSz="1215253">
              <a:defRPr sz="1200">
                <a:solidFill>
                  <a:srgbClr val="58595B"/>
                </a:solidFill>
              </a:defRPr>
            </a:pPr>
            <a:r>
              <a:rPr lang="ru-RU" sz="1100" dirty="0">
                <a:solidFill>
                  <a:srgbClr val="58595B"/>
                </a:solidFill>
                <a:ea typeface="PT Sans Caption" panose="020B0604020202020204" charset="-52"/>
                <a:cs typeface="Times New Roman" pitchFamily="18" charset="0"/>
              </a:rPr>
              <a:t>вода</a:t>
            </a:r>
          </a:p>
        </p:txBody>
      </p:sp>
      <p:pic>
        <p:nvPicPr>
          <p:cNvPr id="46" name="Picture 13" descr="Picture 13">
            <a:extLst>
              <a:ext uri="{FF2B5EF4-FFF2-40B4-BE49-F238E27FC236}">
                <a16:creationId xmlns="" xmlns:a16="http://schemas.microsoft.com/office/drawing/2014/main" id="{7A2A1F7B-D919-4B0D-A65F-19E37F3313EF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184330" y="2445072"/>
            <a:ext cx="367825" cy="360000"/>
          </a:xfrm>
          <a:prstGeom prst="rect">
            <a:avLst/>
          </a:prstGeom>
          <a:ln w="12700">
            <a:miter lim="400000"/>
          </a:ln>
        </p:spPr>
      </p:pic>
      <p:sp>
        <p:nvSpPr>
          <p:cNvPr id="47" name="TextBox 17">
            <a:extLst>
              <a:ext uri="{FF2B5EF4-FFF2-40B4-BE49-F238E27FC236}">
                <a16:creationId xmlns="" xmlns:a16="http://schemas.microsoft.com/office/drawing/2014/main" id="{D92D0A93-3244-4A1C-8FAD-99BB8EFDDCAE}"/>
              </a:ext>
            </a:extLst>
          </p:cNvPr>
          <p:cNvSpPr txBox="1"/>
          <p:nvPr/>
        </p:nvSpPr>
        <p:spPr>
          <a:xfrm>
            <a:off x="4671341" y="2857931"/>
            <a:ext cx="1237013" cy="3385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/>
          <a:p>
            <a:pPr algn="ctr" defTabSz="1215253">
              <a:defRPr sz="1200">
                <a:solidFill>
                  <a:srgbClr val="58595B"/>
                </a:solidFill>
              </a:defRPr>
            </a:pPr>
            <a:r>
              <a:rPr lang="ru-RU" sz="1100" dirty="0">
                <a:solidFill>
                  <a:srgbClr val="58595B"/>
                </a:solidFill>
                <a:ea typeface="PT Sans Caption" panose="020B0604020202020204" charset="-52"/>
              </a:rPr>
              <a:t>Легкая </a:t>
            </a:r>
            <a:r>
              <a:rPr lang="ru-RU" sz="1100" dirty="0">
                <a:solidFill>
                  <a:srgbClr val="58595B"/>
                </a:solidFill>
                <a:ea typeface="PT Sans Caption" panose="020B0604020202020204" charset="-52"/>
                <a:cs typeface="Times New Roman" pitchFamily="18" charset="0"/>
              </a:rPr>
              <a:t>промышленность</a:t>
            </a:r>
          </a:p>
        </p:txBody>
      </p:sp>
      <p:pic>
        <p:nvPicPr>
          <p:cNvPr id="48" name="Picture 17" descr="Picture 17">
            <a:extLst>
              <a:ext uri="{FF2B5EF4-FFF2-40B4-BE49-F238E27FC236}">
                <a16:creationId xmlns="" xmlns:a16="http://schemas.microsoft.com/office/drawing/2014/main" id="{F3A75961-B88E-4188-B2DF-6862E975C6D7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132349" y="2445072"/>
            <a:ext cx="278181" cy="360000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49" name="TextBox 28">
            <a:extLst>
              <a:ext uri="{FF2B5EF4-FFF2-40B4-BE49-F238E27FC236}">
                <a16:creationId xmlns="" xmlns:a16="http://schemas.microsoft.com/office/drawing/2014/main" id="{8140F4D2-8FE1-4685-98FD-3BBF7B95456F}"/>
              </a:ext>
            </a:extLst>
          </p:cNvPr>
          <p:cNvSpPr txBox="1"/>
          <p:nvPr/>
        </p:nvSpPr>
        <p:spPr>
          <a:xfrm>
            <a:off x="6744078" y="2857931"/>
            <a:ext cx="1527867" cy="3385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/>
          <a:p>
            <a:pPr algn="ctr" defTabSz="1215253">
              <a:defRPr sz="1200">
                <a:solidFill>
                  <a:srgbClr val="58595B"/>
                </a:solidFill>
              </a:defRPr>
            </a:pPr>
            <a:r>
              <a:rPr lang="ru-RU" sz="1100" dirty="0">
                <a:solidFill>
                  <a:srgbClr val="58595B"/>
                </a:solidFill>
                <a:ea typeface="PT Sans Caption" panose="020B0604020202020204" charset="-52"/>
              </a:rPr>
              <a:t>Фотоаппараты </a:t>
            </a:r>
          </a:p>
          <a:p>
            <a:pPr algn="ctr" defTabSz="1215253">
              <a:defRPr sz="1200">
                <a:solidFill>
                  <a:srgbClr val="58595B"/>
                </a:solidFill>
              </a:defRPr>
            </a:pPr>
            <a:r>
              <a:rPr lang="ru-RU" sz="1100" dirty="0">
                <a:solidFill>
                  <a:srgbClr val="58595B"/>
                </a:solidFill>
                <a:ea typeface="PT Sans Caption" panose="020B0604020202020204" charset="-52"/>
              </a:rPr>
              <a:t>и </a:t>
            </a:r>
            <a:r>
              <a:rPr lang="ru-RU" sz="1100" dirty="0">
                <a:solidFill>
                  <a:srgbClr val="58595B"/>
                </a:solidFill>
                <a:ea typeface="PT Sans Caption" panose="020B0604020202020204" charset="-52"/>
                <a:cs typeface="Times New Roman" pitchFamily="18" charset="0"/>
              </a:rPr>
              <a:t>лампы-вспышки</a:t>
            </a:r>
          </a:p>
        </p:txBody>
      </p:sp>
      <p:pic>
        <p:nvPicPr>
          <p:cNvPr id="50" name="Picture 27" descr="Picture 27">
            <a:extLst>
              <a:ext uri="{FF2B5EF4-FFF2-40B4-BE49-F238E27FC236}">
                <a16:creationId xmlns="" xmlns:a16="http://schemas.microsoft.com/office/drawing/2014/main" id="{2CAE2101-3D69-4EF1-BCA5-1AFA52A4DB4A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304190" y="2445072"/>
            <a:ext cx="359999" cy="360000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51" name="TextBox 30">
            <a:extLst>
              <a:ext uri="{FF2B5EF4-FFF2-40B4-BE49-F238E27FC236}">
                <a16:creationId xmlns="" xmlns:a16="http://schemas.microsoft.com/office/drawing/2014/main" id="{C35AEFBC-76C7-4E89-8CD4-5DE11DD523AE}"/>
              </a:ext>
            </a:extLst>
          </p:cNvPr>
          <p:cNvSpPr txBox="1"/>
          <p:nvPr/>
        </p:nvSpPr>
        <p:spPr>
          <a:xfrm>
            <a:off x="8152641" y="2857931"/>
            <a:ext cx="1345554" cy="5078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/>
          <a:p>
            <a:pPr algn="ctr" defTabSz="1215253">
              <a:defRPr sz="1200">
                <a:solidFill>
                  <a:srgbClr val="58595B"/>
                </a:solidFill>
              </a:defRPr>
            </a:pPr>
            <a:r>
              <a:rPr lang="ru-RU" sz="1100" dirty="0">
                <a:solidFill>
                  <a:srgbClr val="58595B"/>
                </a:solidFill>
                <a:ea typeface="PT Sans Caption" panose="020B0604020202020204" charset="-52"/>
              </a:rPr>
              <a:t>Шины и пневматические </a:t>
            </a:r>
            <a:r>
              <a:rPr lang="ru-RU" sz="1100" dirty="0">
                <a:solidFill>
                  <a:srgbClr val="58595B"/>
                </a:solidFill>
                <a:ea typeface="PT Sans Caption" panose="020B0604020202020204" charset="-52"/>
                <a:cs typeface="Times New Roman" pitchFamily="18" charset="0"/>
              </a:rPr>
              <a:t>покрышки</a:t>
            </a:r>
          </a:p>
        </p:txBody>
      </p:sp>
      <p:pic>
        <p:nvPicPr>
          <p:cNvPr id="52" name="Picture 31" descr="Picture 31">
            <a:extLst>
              <a:ext uri="{FF2B5EF4-FFF2-40B4-BE49-F238E27FC236}">
                <a16:creationId xmlns="" xmlns:a16="http://schemas.microsoft.com/office/drawing/2014/main" id="{B01F19CA-4FE1-4827-9410-64E7BC7AC7C6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8613866" y="2445072"/>
            <a:ext cx="308570" cy="324000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53" name="Freeform 67">
            <a:extLst>
              <a:ext uri="{FF2B5EF4-FFF2-40B4-BE49-F238E27FC236}">
                <a16:creationId xmlns="" xmlns:a16="http://schemas.microsoft.com/office/drawing/2014/main" id="{CA8BB205-AB67-44F1-9A85-00CACC2714F3}"/>
              </a:ext>
            </a:extLst>
          </p:cNvPr>
          <p:cNvSpPr/>
          <p:nvPr/>
        </p:nvSpPr>
        <p:spPr>
          <a:xfrm>
            <a:off x="10091422" y="2423492"/>
            <a:ext cx="180000" cy="360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9695"/>
                </a:moveTo>
                <a:cubicBezTo>
                  <a:pt x="0" y="4443"/>
                  <a:pt x="0" y="4443"/>
                  <a:pt x="0" y="4443"/>
                </a:cubicBezTo>
                <a:cubicBezTo>
                  <a:pt x="0" y="1988"/>
                  <a:pt x="4833" y="0"/>
                  <a:pt x="10800" y="0"/>
                </a:cubicBezTo>
                <a:cubicBezTo>
                  <a:pt x="16767" y="0"/>
                  <a:pt x="21600" y="1988"/>
                  <a:pt x="21600" y="4443"/>
                </a:cubicBezTo>
                <a:cubicBezTo>
                  <a:pt x="21600" y="9720"/>
                  <a:pt x="21600" y="9720"/>
                  <a:pt x="21600" y="9720"/>
                </a:cubicBezTo>
                <a:cubicBezTo>
                  <a:pt x="20466" y="9941"/>
                  <a:pt x="20466" y="9941"/>
                  <a:pt x="20466" y="9941"/>
                </a:cubicBezTo>
                <a:cubicBezTo>
                  <a:pt x="17901" y="10407"/>
                  <a:pt x="14499" y="10677"/>
                  <a:pt x="10860" y="10677"/>
                </a:cubicBezTo>
                <a:cubicBezTo>
                  <a:pt x="7220" y="10677"/>
                  <a:pt x="3819" y="10407"/>
                  <a:pt x="1313" y="9941"/>
                </a:cubicBezTo>
                <a:cubicBezTo>
                  <a:pt x="1253" y="9941"/>
                  <a:pt x="1193" y="9916"/>
                  <a:pt x="1134" y="9916"/>
                </a:cubicBezTo>
                <a:lnTo>
                  <a:pt x="0" y="9695"/>
                </a:lnTo>
                <a:close/>
                <a:moveTo>
                  <a:pt x="2625" y="12420"/>
                </a:moveTo>
                <a:cubicBezTo>
                  <a:pt x="2625" y="17157"/>
                  <a:pt x="2625" y="17157"/>
                  <a:pt x="2625" y="17157"/>
                </a:cubicBezTo>
                <a:cubicBezTo>
                  <a:pt x="2625" y="19023"/>
                  <a:pt x="6325" y="20520"/>
                  <a:pt x="10800" y="20520"/>
                </a:cubicBezTo>
                <a:cubicBezTo>
                  <a:pt x="15275" y="20520"/>
                  <a:pt x="18975" y="19023"/>
                  <a:pt x="18975" y="17157"/>
                </a:cubicBezTo>
                <a:cubicBezTo>
                  <a:pt x="18975" y="12420"/>
                  <a:pt x="18975" y="12420"/>
                  <a:pt x="18975" y="12420"/>
                </a:cubicBezTo>
                <a:cubicBezTo>
                  <a:pt x="16469" y="12690"/>
                  <a:pt x="13724" y="12837"/>
                  <a:pt x="10860" y="12837"/>
                </a:cubicBezTo>
                <a:cubicBezTo>
                  <a:pt x="7996" y="12837"/>
                  <a:pt x="5131" y="12690"/>
                  <a:pt x="2625" y="12420"/>
                </a:cubicBezTo>
                <a:moveTo>
                  <a:pt x="0" y="10874"/>
                </a:moveTo>
                <a:cubicBezTo>
                  <a:pt x="60" y="10898"/>
                  <a:pt x="179" y="10923"/>
                  <a:pt x="239" y="10923"/>
                </a:cubicBezTo>
                <a:cubicBezTo>
                  <a:pt x="3103" y="11463"/>
                  <a:pt x="6862" y="11757"/>
                  <a:pt x="10860" y="11757"/>
                </a:cubicBezTo>
                <a:cubicBezTo>
                  <a:pt x="14857" y="11757"/>
                  <a:pt x="18676" y="11463"/>
                  <a:pt x="21540" y="10923"/>
                </a:cubicBezTo>
                <a:cubicBezTo>
                  <a:pt x="21540" y="10923"/>
                  <a:pt x="21540" y="10923"/>
                  <a:pt x="21600" y="10923"/>
                </a:cubicBezTo>
                <a:cubicBezTo>
                  <a:pt x="21600" y="17157"/>
                  <a:pt x="21600" y="17157"/>
                  <a:pt x="21600" y="17157"/>
                </a:cubicBezTo>
                <a:cubicBezTo>
                  <a:pt x="21600" y="19612"/>
                  <a:pt x="16767" y="21600"/>
                  <a:pt x="10800" y="21600"/>
                </a:cubicBezTo>
                <a:cubicBezTo>
                  <a:pt x="4833" y="21600"/>
                  <a:pt x="0" y="19612"/>
                  <a:pt x="0" y="17157"/>
                </a:cubicBezTo>
                <a:cubicBezTo>
                  <a:pt x="0" y="10874"/>
                  <a:pt x="0" y="10874"/>
                  <a:pt x="0" y="10874"/>
                </a:cubicBezTo>
                <a:close/>
              </a:path>
            </a:pathLst>
          </a:custGeom>
          <a:solidFill>
            <a:srgbClr val="595959"/>
          </a:solidFill>
          <a:ln w="12700">
            <a:miter lim="400000"/>
          </a:ln>
        </p:spPr>
        <p:txBody>
          <a:bodyPr lIns="45481" rIns="45481"/>
          <a:lstStyle/>
          <a:p>
            <a:pPr defTabSz="1215253">
              <a:defRPr sz="2200"/>
            </a:pPr>
            <a:endParaRPr lang="ru-RU" sz="2190" dirty="0">
              <a:solidFill>
                <a:srgbClr val="212121">
                  <a:lumOff val="21764"/>
                </a:srgbClr>
              </a:solidFill>
            </a:endParaRPr>
          </a:p>
        </p:txBody>
      </p:sp>
      <p:grpSp>
        <p:nvGrpSpPr>
          <p:cNvPr id="54" name="Group 99">
            <a:extLst>
              <a:ext uri="{FF2B5EF4-FFF2-40B4-BE49-F238E27FC236}">
                <a16:creationId xmlns="" xmlns:a16="http://schemas.microsoft.com/office/drawing/2014/main" id="{6F5EA40B-31AF-4400-8A86-D594A5931BE4}"/>
              </a:ext>
            </a:extLst>
          </p:cNvPr>
          <p:cNvGrpSpPr>
            <a:grpSpLocks noChangeAspect="1"/>
          </p:cNvGrpSpPr>
          <p:nvPr/>
        </p:nvGrpSpPr>
        <p:grpSpPr>
          <a:xfrm>
            <a:off x="11051715" y="2339283"/>
            <a:ext cx="576004" cy="576000"/>
            <a:chOff x="5272883" y="2606041"/>
            <a:chExt cx="1646234" cy="1646231"/>
          </a:xfrm>
        </p:grpSpPr>
        <p:sp>
          <p:nvSpPr>
            <p:cNvPr id="55" name="AutoShape 121">
              <a:extLst>
                <a:ext uri="{FF2B5EF4-FFF2-40B4-BE49-F238E27FC236}">
                  <a16:creationId xmlns="" xmlns:a16="http://schemas.microsoft.com/office/drawing/2014/main" id="{2EB755B2-C8EA-48BC-A376-676FF7400BF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2883" y="2606041"/>
              <a:ext cx="1646234" cy="1646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56" name="Rectangle 101">
              <a:extLst>
                <a:ext uri="{FF2B5EF4-FFF2-40B4-BE49-F238E27FC236}">
                  <a16:creationId xmlns="" xmlns:a16="http://schemas.microsoft.com/office/drawing/2014/main" id="{B09C3A84-BADD-426F-8788-CA0AF728FD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72883" y="2606041"/>
              <a:ext cx="1646234" cy="1646231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0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grpSp>
          <p:nvGrpSpPr>
            <p:cNvPr id="57" name="Group 102">
              <a:extLst>
                <a:ext uri="{FF2B5EF4-FFF2-40B4-BE49-F238E27FC236}">
                  <a16:creationId xmlns="" xmlns:a16="http://schemas.microsoft.com/office/drawing/2014/main" id="{D09DD635-133E-4308-90EA-64B727175CB5}"/>
                </a:ext>
              </a:extLst>
            </p:cNvPr>
            <p:cNvGrpSpPr/>
            <p:nvPr/>
          </p:nvGrpSpPr>
          <p:grpSpPr>
            <a:xfrm>
              <a:off x="5374958" y="2863038"/>
              <a:ext cx="1442084" cy="1132236"/>
              <a:chOff x="5374958" y="2863038"/>
              <a:chExt cx="1442084" cy="1132236"/>
            </a:xfrm>
          </p:grpSpPr>
          <p:sp>
            <p:nvSpPr>
              <p:cNvPr id="58" name="Freeform 103">
                <a:extLst>
                  <a:ext uri="{FF2B5EF4-FFF2-40B4-BE49-F238E27FC236}">
                    <a16:creationId xmlns="" xmlns:a16="http://schemas.microsoft.com/office/drawing/2014/main" id="{445CD239-3255-4403-B435-0D3CB1C8D6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74958" y="2863038"/>
                <a:ext cx="1442084" cy="1132236"/>
              </a:xfrm>
              <a:custGeom>
                <a:avLst/>
                <a:gdLst>
                  <a:gd name="T0" fmla="*/ 2347 w 3982"/>
                  <a:gd name="T1" fmla="*/ 2312 h 3128"/>
                  <a:gd name="T2" fmla="*/ 2936 w 3982"/>
                  <a:gd name="T3" fmla="*/ 2414 h 3128"/>
                  <a:gd name="T4" fmla="*/ 2815 w 3982"/>
                  <a:gd name="T5" fmla="*/ 2239 h 3128"/>
                  <a:gd name="T6" fmla="*/ 1262 w 3982"/>
                  <a:gd name="T7" fmla="*/ 2239 h 3128"/>
                  <a:gd name="T8" fmla="*/ 631 w 3982"/>
                  <a:gd name="T9" fmla="*/ 1411 h 3128"/>
                  <a:gd name="T10" fmla="*/ 1199 w 3982"/>
                  <a:gd name="T11" fmla="*/ 1576 h 3128"/>
                  <a:gd name="T12" fmla="*/ 1527 w 3982"/>
                  <a:gd name="T13" fmla="*/ 1323 h 3128"/>
                  <a:gd name="T14" fmla="*/ 1473 w 3982"/>
                  <a:gd name="T15" fmla="*/ 936 h 3128"/>
                  <a:gd name="T16" fmla="*/ 1624 w 3982"/>
                  <a:gd name="T17" fmla="*/ 1323 h 3128"/>
                  <a:gd name="T18" fmla="*/ 1215 w 3982"/>
                  <a:gd name="T19" fmla="*/ 1662 h 3128"/>
                  <a:gd name="T20" fmla="*/ 1022 w 3982"/>
                  <a:gd name="T21" fmla="*/ 1966 h 3128"/>
                  <a:gd name="T22" fmla="*/ 1419 w 3982"/>
                  <a:gd name="T23" fmla="*/ 2175 h 3128"/>
                  <a:gd name="T24" fmla="*/ 1833 w 3982"/>
                  <a:gd name="T25" fmla="*/ 2237 h 3128"/>
                  <a:gd name="T26" fmla="*/ 2917 w 3982"/>
                  <a:gd name="T27" fmla="*/ 2212 h 3128"/>
                  <a:gd name="T28" fmla="*/ 3172 w 3982"/>
                  <a:gd name="T29" fmla="*/ 2369 h 3128"/>
                  <a:gd name="T30" fmla="*/ 3530 w 3982"/>
                  <a:gd name="T31" fmla="*/ 2356 h 3128"/>
                  <a:gd name="T32" fmla="*/ 3481 w 3982"/>
                  <a:gd name="T33" fmla="*/ 1171 h 3128"/>
                  <a:gd name="T34" fmla="*/ 1473 w 3982"/>
                  <a:gd name="T35" fmla="*/ 936 h 3128"/>
                  <a:gd name="T36" fmla="*/ 724 w 3982"/>
                  <a:gd name="T37" fmla="*/ 510 h 3128"/>
                  <a:gd name="T38" fmla="*/ 913 w 3982"/>
                  <a:gd name="T39" fmla="*/ 733 h 3128"/>
                  <a:gd name="T40" fmla="*/ 784 w 3982"/>
                  <a:gd name="T41" fmla="*/ 1134 h 3128"/>
                  <a:gd name="T42" fmla="*/ 1294 w 3982"/>
                  <a:gd name="T43" fmla="*/ 847 h 3128"/>
                  <a:gd name="T44" fmla="*/ 1389 w 3982"/>
                  <a:gd name="T45" fmla="*/ 668 h 3128"/>
                  <a:gd name="T46" fmla="*/ 1715 w 3982"/>
                  <a:gd name="T47" fmla="*/ 399 h 3128"/>
                  <a:gd name="T48" fmla="*/ 1565 w 3982"/>
                  <a:gd name="T49" fmla="*/ 638 h 3128"/>
                  <a:gd name="T50" fmla="*/ 1974 w 3982"/>
                  <a:gd name="T51" fmla="*/ 679 h 3128"/>
                  <a:gd name="T52" fmla="*/ 2056 w 3982"/>
                  <a:gd name="T53" fmla="*/ 526 h 3128"/>
                  <a:gd name="T54" fmla="*/ 272 w 3982"/>
                  <a:gd name="T55" fmla="*/ 419 h 3128"/>
                  <a:gd name="T56" fmla="*/ 89 w 3982"/>
                  <a:gd name="T57" fmla="*/ 583 h 3128"/>
                  <a:gd name="T58" fmla="*/ 464 w 3982"/>
                  <a:gd name="T59" fmla="*/ 740 h 3128"/>
                  <a:gd name="T60" fmla="*/ 585 w 3982"/>
                  <a:gd name="T61" fmla="*/ 484 h 3128"/>
                  <a:gd name="T62" fmla="*/ 660 w 3982"/>
                  <a:gd name="T63" fmla="*/ 88 h 3128"/>
                  <a:gd name="T64" fmla="*/ 1001 w 3982"/>
                  <a:gd name="T65" fmla="*/ 372 h 3128"/>
                  <a:gd name="T66" fmla="*/ 1401 w 3982"/>
                  <a:gd name="T67" fmla="*/ 246 h 3128"/>
                  <a:gd name="T68" fmla="*/ 1587 w 3982"/>
                  <a:gd name="T69" fmla="*/ 31 h 3128"/>
                  <a:gd name="T70" fmla="*/ 1502 w 3982"/>
                  <a:gd name="T71" fmla="*/ 449 h 3128"/>
                  <a:gd name="T72" fmla="*/ 2030 w 3982"/>
                  <a:gd name="T73" fmla="*/ 393 h 3128"/>
                  <a:gd name="T74" fmla="*/ 2098 w 3982"/>
                  <a:gd name="T75" fmla="*/ 696 h 3128"/>
                  <a:gd name="T76" fmla="*/ 1584 w 3982"/>
                  <a:gd name="T77" fmla="*/ 777 h 3128"/>
                  <a:gd name="T78" fmla="*/ 3524 w 3982"/>
                  <a:gd name="T79" fmla="*/ 861 h 3128"/>
                  <a:gd name="T80" fmla="*/ 3841 w 3982"/>
                  <a:gd name="T81" fmla="*/ 1003 h 3128"/>
                  <a:gd name="T82" fmla="*/ 3951 w 3982"/>
                  <a:gd name="T83" fmla="*/ 1517 h 3128"/>
                  <a:gd name="T84" fmla="*/ 3894 w 3982"/>
                  <a:gd name="T85" fmla="*/ 1924 h 3128"/>
                  <a:gd name="T86" fmla="*/ 3809 w 3982"/>
                  <a:gd name="T87" fmla="*/ 1714 h 3128"/>
                  <a:gd name="T88" fmla="*/ 3882 w 3982"/>
                  <a:gd name="T89" fmla="*/ 1210 h 3128"/>
                  <a:gd name="T90" fmla="*/ 3592 w 3982"/>
                  <a:gd name="T91" fmla="*/ 962 h 3128"/>
                  <a:gd name="T92" fmla="*/ 3572 w 3982"/>
                  <a:gd name="T93" fmla="*/ 1160 h 3128"/>
                  <a:gd name="T94" fmla="*/ 3613 w 3982"/>
                  <a:gd name="T95" fmla="*/ 2388 h 3128"/>
                  <a:gd name="T96" fmla="*/ 2818 w 3982"/>
                  <a:gd name="T97" fmla="*/ 3065 h 3128"/>
                  <a:gd name="T98" fmla="*/ 2555 w 3982"/>
                  <a:gd name="T99" fmla="*/ 2668 h 3128"/>
                  <a:gd name="T100" fmla="*/ 2315 w 3982"/>
                  <a:gd name="T101" fmla="*/ 2534 h 3128"/>
                  <a:gd name="T102" fmla="*/ 2218 w 3982"/>
                  <a:gd name="T103" fmla="*/ 2256 h 3128"/>
                  <a:gd name="T104" fmla="*/ 1769 w 3982"/>
                  <a:gd name="T105" fmla="*/ 3124 h 3128"/>
                  <a:gd name="T106" fmla="*/ 981 w 3982"/>
                  <a:gd name="T107" fmla="*/ 2059 h 3128"/>
                  <a:gd name="T108" fmla="*/ 756 w 3982"/>
                  <a:gd name="T109" fmla="*/ 1612 h 3128"/>
                  <a:gd name="T110" fmla="*/ 569 w 3982"/>
                  <a:gd name="T111" fmla="*/ 1255 h 3128"/>
                  <a:gd name="T112" fmla="*/ 543 w 3982"/>
                  <a:gd name="T113" fmla="*/ 802 h 3128"/>
                  <a:gd name="T114" fmla="*/ 41 w 3982"/>
                  <a:gd name="T115" fmla="*/ 664 h 3128"/>
                  <a:gd name="T116" fmla="*/ 183 w 3982"/>
                  <a:gd name="T117" fmla="*/ 366 h 3128"/>
                  <a:gd name="T118" fmla="*/ 671 w 3982"/>
                  <a:gd name="T119" fmla="*/ 439 h 3128"/>
                  <a:gd name="T120" fmla="*/ 591 w 3982"/>
                  <a:gd name="T121" fmla="*/ 0 h 3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982" h="3128">
                    <a:moveTo>
                      <a:pt x="3071" y="2428"/>
                    </a:moveTo>
                    <a:lnTo>
                      <a:pt x="3034" y="2457"/>
                    </a:lnTo>
                    <a:lnTo>
                      <a:pt x="2993" y="2482"/>
                    </a:lnTo>
                    <a:lnTo>
                      <a:pt x="2949" y="2504"/>
                    </a:lnTo>
                    <a:lnTo>
                      <a:pt x="2902" y="2522"/>
                    </a:lnTo>
                    <a:lnTo>
                      <a:pt x="2902" y="3041"/>
                    </a:lnTo>
                    <a:lnTo>
                      <a:pt x="3120" y="3041"/>
                    </a:lnTo>
                    <a:lnTo>
                      <a:pt x="3120" y="2445"/>
                    </a:lnTo>
                    <a:lnTo>
                      <a:pt x="3071" y="2428"/>
                    </a:lnTo>
                    <a:close/>
                    <a:moveTo>
                      <a:pt x="2305" y="2239"/>
                    </a:moveTo>
                    <a:lnTo>
                      <a:pt x="2322" y="2278"/>
                    </a:lnTo>
                    <a:lnTo>
                      <a:pt x="2347" y="2312"/>
                    </a:lnTo>
                    <a:lnTo>
                      <a:pt x="2376" y="2345"/>
                    </a:lnTo>
                    <a:lnTo>
                      <a:pt x="2411" y="2376"/>
                    </a:lnTo>
                    <a:lnTo>
                      <a:pt x="2451" y="2401"/>
                    </a:lnTo>
                    <a:lnTo>
                      <a:pt x="2495" y="2423"/>
                    </a:lnTo>
                    <a:lnTo>
                      <a:pt x="2544" y="2441"/>
                    </a:lnTo>
                    <a:lnTo>
                      <a:pt x="2596" y="2454"/>
                    </a:lnTo>
                    <a:lnTo>
                      <a:pt x="2650" y="2463"/>
                    </a:lnTo>
                    <a:lnTo>
                      <a:pt x="2705" y="2465"/>
                    </a:lnTo>
                    <a:lnTo>
                      <a:pt x="2767" y="2461"/>
                    </a:lnTo>
                    <a:lnTo>
                      <a:pt x="2826" y="2452"/>
                    </a:lnTo>
                    <a:lnTo>
                      <a:pt x="2883" y="2436"/>
                    </a:lnTo>
                    <a:lnTo>
                      <a:pt x="2936" y="2414"/>
                    </a:lnTo>
                    <a:lnTo>
                      <a:pt x="2983" y="2387"/>
                    </a:lnTo>
                    <a:lnTo>
                      <a:pt x="2949" y="2363"/>
                    </a:lnTo>
                    <a:lnTo>
                      <a:pt x="2920" y="2341"/>
                    </a:lnTo>
                    <a:lnTo>
                      <a:pt x="2896" y="2321"/>
                    </a:lnTo>
                    <a:lnTo>
                      <a:pt x="2877" y="2300"/>
                    </a:lnTo>
                    <a:lnTo>
                      <a:pt x="2862" y="2283"/>
                    </a:lnTo>
                    <a:lnTo>
                      <a:pt x="2851" y="2270"/>
                    </a:lnTo>
                    <a:lnTo>
                      <a:pt x="2844" y="2260"/>
                    </a:lnTo>
                    <a:lnTo>
                      <a:pt x="2841" y="2256"/>
                    </a:lnTo>
                    <a:lnTo>
                      <a:pt x="2834" y="2249"/>
                    </a:lnTo>
                    <a:lnTo>
                      <a:pt x="2825" y="2242"/>
                    </a:lnTo>
                    <a:lnTo>
                      <a:pt x="2815" y="2239"/>
                    </a:lnTo>
                    <a:lnTo>
                      <a:pt x="2305" y="2239"/>
                    </a:lnTo>
                    <a:close/>
                    <a:moveTo>
                      <a:pt x="1214" y="2224"/>
                    </a:moveTo>
                    <a:lnTo>
                      <a:pt x="1269" y="3035"/>
                    </a:lnTo>
                    <a:lnTo>
                      <a:pt x="1270" y="3036"/>
                    </a:lnTo>
                    <a:lnTo>
                      <a:pt x="1272" y="3036"/>
                    </a:lnTo>
                    <a:lnTo>
                      <a:pt x="1273" y="3037"/>
                    </a:lnTo>
                    <a:lnTo>
                      <a:pt x="1496" y="3037"/>
                    </a:lnTo>
                    <a:lnTo>
                      <a:pt x="1415" y="2260"/>
                    </a:lnTo>
                    <a:lnTo>
                      <a:pt x="1385" y="2259"/>
                    </a:lnTo>
                    <a:lnTo>
                      <a:pt x="1347" y="2256"/>
                    </a:lnTo>
                    <a:lnTo>
                      <a:pt x="1306" y="2249"/>
                    </a:lnTo>
                    <a:lnTo>
                      <a:pt x="1262" y="2239"/>
                    </a:lnTo>
                    <a:lnTo>
                      <a:pt x="1214" y="2224"/>
                    </a:lnTo>
                    <a:close/>
                    <a:moveTo>
                      <a:pt x="771" y="1221"/>
                    </a:moveTo>
                    <a:lnTo>
                      <a:pt x="767" y="1225"/>
                    </a:lnTo>
                    <a:lnTo>
                      <a:pt x="731" y="1246"/>
                    </a:lnTo>
                    <a:lnTo>
                      <a:pt x="702" y="1262"/>
                    </a:lnTo>
                    <a:lnTo>
                      <a:pt x="675" y="1280"/>
                    </a:lnTo>
                    <a:lnTo>
                      <a:pt x="651" y="1297"/>
                    </a:lnTo>
                    <a:lnTo>
                      <a:pt x="632" y="1315"/>
                    </a:lnTo>
                    <a:lnTo>
                      <a:pt x="618" y="1332"/>
                    </a:lnTo>
                    <a:lnTo>
                      <a:pt x="614" y="1350"/>
                    </a:lnTo>
                    <a:lnTo>
                      <a:pt x="618" y="1382"/>
                    </a:lnTo>
                    <a:lnTo>
                      <a:pt x="631" y="1411"/>
                    </a:lnTo>
                    <a:lnTo>
                      <a:pt x="651" y="1440"/>
                    </a:lnTo>
                    <a:lnTo>
                      <a:pt x="679" y="1468"/>
                    </a:lnTo>
                    <a:lnTo>
                      <a:pt x="712" y="1492"/>
                    </a:lnTo>
                    <a:lnTo>
                      <a:pt x="752" y="1514"/>
                    </a:lnTo>
                    <a:lnTo>
                      <a:pt x="796" y="1535"/>
                    </a:lnTo>
                    <a:lnTo>
                      <a:pt x="846" y="1552"/>
                    </a:lnTo>
                    <a:lnTo>
                      <a:pt x="899" y="1565"/>
                    </a:lnTo>
                    <a:lnTo>
                      <a:pt x="956" y="1576"/>
                    </a:lnTo>
                    <a:lnTo>
                      <a:pt x="1015" y="1582"/>
                    </a:lnTo>
                    <a:lnTo>
                      <a:pt x="1077" y="1585"/>
                    </a:lnTo>
                    <a:lnTo>
                      <a:pt x="1139" y="1582"/>
                    </a:lnTo>
                    <a:lnTo>
                      <a:pt x="1199" y="1576"/>
                    </a:lnTo>
                    <a:lnTo>
                      <a:pt x="1256" y="1565"/>
                    </a:lnTo>
                    <a:lnTo>
                      <a:pt x="1309" y="1552"/>
                    </a:lnTo>
                    <a:lnTo>
                      <a:pt x="1358" y="1535"/>
                    </a:lnTo>
                    <a:lnTo>
                      <a:pt x="1404" y="1514"/>
                    </a:lnTo>
                    <a:lnTo>
                      <a:pt x="1442" y="1492"/>
                    </a:lnTo>
                    <a:lnTo>
                      <a:pt x="1477" y="1468"/>
                    </a:lnTo>
                    <a:lnTo>
                      <a:pt x="1503" y="1440"/>
                    </a:lnTo>
                    <a:lnTo>
                      <a:pt x="1524" y="1411"/>
                    </a:lnTo>
                    <a:lnTo>
                      <a:pt x="1536" y="1382"/>
                    </a:lnTo>
                    <a:lnTo>
                      <a:pt x="1540" y="1350"/>
                    </a:lnTo>
                    <a:lnTo>
                      <a:pt x="1538" y="1337"/>
                    </a:lnTo>
                    <a:lnTo>
                      <a:pt x="1527" y="1323"/>
                    </a:lnTo>
                    <a:lnTo>
                      <a:pt x="1510" y="1310"/>
                    </a:lnTo>
                    <a:lnTo>
                      <a:pt x="1489" y="1297"/>
                    </a:lnTo>
                    <a:lnTo>
                      <a:pt x="1466" y="1284"/>
                    </a:lnTo>
                    <a:lnTo>
                      <a:pt x="1441" y="1272"/>
                    </a:lnTo>
                    <a:lnTo>
                      <a:pt x="1415" y="1261"/>
                    </a:lnTo>
                    <a:lnTo>
                      <a:pt x="1379" y="1243"/>
                    </a:lnTo>
                    <a:lnTo>
                      <a:pt x="1345" y="1225"/>
                    </a:lnTo>
                    <a:lnTo>
                      <a:pt x="1340" y="1224"/>
                    </a:lnTo>
                    <a:lnTo>
                      <a:pt x="788" y="1224"/>
                    </a:lnTo>
                    <a:lnTo>
                      <a:pt x="780" y="1222"/>
                    </a:lnTo>
                    <a:lnTo>
                      <a:pt x="771" y="1221"/>
                    </a:lnTo>
                    <a:close/>
                    <a:moveTo>
                      <a:pt x="1473" y="936"/>
                    </a:moveTo>
                    <a:lnTo>
                      <a:pt x="1441" y="1144"/>
                    </a:lnTo>
                    <a:lnTo>
                      <a:pt x="1438" y="1159"/>
                    </a:lnTo>
                    <a:lnTo>
                      <a:pt x="1431" y="1173"/>
                    </a:lnTo>
                    <a:lnTo>
                      <a:pt x="1452" y="1181"/>
                    </a:lnTo>
                    <a:lnTo>
                      <a:pt x="1481" y="1195"/>
                    </a:lnTo>
                    <a:lnTo>
                      <a:pt x="1509" y="1208"/>
                    </a:lnTo>
                    <a:lnTo>
                      <a:pt x="1536" y="1224"/>
                    </a:lnTo>
                    <a:lnTo>
                      <a:pt x="1561" y="1240"/>
                    </a:lnTo>
                    <a:lnTo>
                      <a:pt x="1583" y="1257"/>
                    </a:lnTo>
                    <a:lnTo>
                      <a:pt x="1601" y="1277"/>
                    </a:lnTo>
                    <a:lnTo>
                      <a:pt x="1616" y="1298"/>
                    </a:lnTo>
                    <a:lnTo>
                      <a:pt x="1624" y="1323"/>
                    </a:lnTo>
                    <a:lnTo>
                      <a:pt x="1627" y="1350"/>
                    </a:lnTo>
                    <a:lnTo>
                      <a:pt x="1623" y="1390"/>
                    </a:lnTo>
                    <a:lnTo>
                      <a:pt x="1611" y="1430"/>
                    </a:lnTo>
                    <a:lnTo>
                      <a:pt x="1591" y="1468"/>
                    </a:lnTo>
                    <a:lnTo>
                      <a:pt x="1564" y="1502"/>
                    </a:lnTo>
                    <a:lnTo>
                      <a:pt x="1531" y="1535"/>
                    </a:lnTo>
                    <a:lnTo>
                      <a:pt x="1491" y="1564"/>
                    </a:lnTo>
                    <a:lnTo>
                      <a:pt x="1445" y="1592"/>
                    </a:lnTo>
                    <a:lnTo>
                      <a:pt x="1394" y="1615"/>
                    </a:lnTo>
                    <a:lnTo>
                      <a:pt x="1338" y="1634"/>
                    </a:lnTo>
                    <a:lnTo>
                      <a:pt x="1278" y="1649"/>
                    </a:lnTo>
                    <a:lnTo>
                      <a:pt x="1215" y="1662"/>
                    </a:lnTo>
                    <a:lnTo>
                      <a:pt x="1148" y="1669"/>
                    </a:lnTo>
                    <a:lnTo>
                      <a:pt x="1077" y="1671"/>
                    </a:lnTo>
                    <a:lnTo>
                      <a:pt x="1015" y="1669"/>
                    </a:lnTo>
                    <a:lnTo>
                      <a:pt x="956" y="1663"/>
                    </a:lnTo>
                    <a:lnTo>
                      <a:pt x="956" y="1694"/>
                    </a:lnTo>
                    <a:lnTo>
                      <a:pt x="956" y="1727"/>
                    </a:lnTo>
                    <a:lnTo>
                      <a:pt x="959" y="1764"/>
                    </a:lnTo>
                    <a:lnTo>
                      <a:pt x="964" y="1802"/>
                    </a:lnTo>
                    <a:lnTo>
                      <a:pt x="973" y="1844"/>
                    </a:lnTo>
                    <a:lnTo>
                      <a:pt x="985" y="1885"/>
                    </a:lnTo>
                    <a:lnTo>
                      <a:pt x="1001" y="1926"/>
                    </a:lnTo>
                    <a:lnTo>
                      <a:pt x="1022" y="1966"/>
                    </a:lnTo>
                    <a:lnTo>
                      <a:pt x="1048" y="2004"/>
                    </a:lnTo>
                    <a:lnTo>
                      <a:pt x="1080" y="2039"/>
                    </a:lnTo>
                    <a:lnTo>
                      <a:pt x="1113" y="2070"/>
                    </a:lnTo>
                    <a:lnTo>
                      <a:pt x="1148" y="2095"/>
                    </a:lnTo>
                    <a:lnTo>
                      <a:pt x="1182" y="2115"/>
                    </a:lnTo>
                    <a:lnTo>
                      <a:pt x="1189" y="2118"/>
                    </a:lnTo>
                    <a:lnTo>
                      <a:pt x="1234" y="2139"/>
                    </a:lnTo>
                    <a:lnTo>
                      <a:pt x="1278" y="2154"/>
                    </a:lnTo>
                    <a:lnTo>
                      <a:pt x="1320" y="2164"/>
                    </a:lnTo>
                    <a:lnTo>
                      <a:pt x="1358" y="2170"/>
                    </a:lnTo>
                    <a:lnTo>
                      <a:pt x="1391" y="2173"/>
                    </a:lnTo>
                    <a:lnTo>
                      <a:pt x="1419" y="2175"/>
                    </a:lnTo>
                    <a:lnTo>
                      <a:pt x="1440" y="2173"/>
                    </a:lnTo>
                    <a:lnTo>
                      <a:pt x="1451" y="2173"/>
                    </a:lnTo>
                    <a:lnTo>
                      <a:pt x="1467" y="2175"/>
                    </a:lnTo>
                    <a:lnTo>
                      <a:pt x="1482" y="2183"/>
                    </a:lnTo>
                    <a:lnTo>
                      <a:pt x="1492" y="2195"/>
                    </a:lnTo>
                    <a:lnTo>
                      <a:pt x="1498" y="2212"/>
                    </a:lnTo>
                    <a:lnTo>
                      <a:pt x="1584" y="3037"/>
                    </a:lnTo>
                    <a:lnTo>
                      <a:pt x="1769" y="3037"/>
                    </a:lnTo>
                    <a:lnTo>
                      <a:pt x="1770" y="3036"/>
                    </a:lnTo>
                    <a:lnTo>
                      <a:pt x="1772" y="3036"/>
                    </a:lnTo>
                    <a:lnTo>
                      <a:pt x="1773" y="3035"/>
                    </a:lnTo>
                    <a:lnTo>
                      <a:pt x="1833" y="2237"/>
                    </a:lnTo>
                    <a:lnTo>
                      <a:pt x="1837" y="2215"/>
                    </a:lnTo>
                    <a:lnTo>
                      <a:pt x="1846" y="2194"/>
                    </a:lnTo>
                    <a:lnTo>
                      <a:pt x="1861" y="2177"/>
                    </a:lnTo>
                    <a:lnTo>
                      <a:pt x="1879" y="2164"/>
                    </a:lnTo>
                    <a:lnTo>
                      <a:pt x="1900" y="2155"/>
                    </a:lnTo>
                    <a:lnTo>
                      <a:pt x="1922" y="2152"/>
                    </a:lnTo>
                    <a:lnTo>
                      <a:pt x="2815" y="2152"/>
                    </a:lnTo>
                    <a:lnTo>
                      <a:pt x="2839" y="2155"/>
                    </a:lnTo>
                    <a:lnTo>
                      <a:pt x="2862" y="2164"/>
                    </a:lnTo>
                    <a:lnTo>
                      <a:pt x="2884" y="2176"/>
                    </a:lnTo>
                    <a:lnTo>
                      <a:pt x="2903" y="2192"/>
                    </a:lnTo>
                    <a:lnTo>
                      <a:pt x="2917" y="2212"/>
                    </a:lnTo>
                    <a:lnTo>
                      <a:pt x="2920" y="2216"/>
                    </a:lnTo>
                    <a:lnTo>
                      <a:pt x="2927" y="2226"/>
                    </a:lnTo>
                    <a:lnTo>
                      <a:pt x="2938" y="2239"/>
                    </a:lnTo>
                    <a:lnTo>
                      <a:pt x="2953" y="2256"/>
                    </a:lnTo>
                    <a:lnTo>
                      <a:pt x="2975" y="2274"/>
                    </a:lnTo>
                    <a:lnTo>
                      <a:pt x="3001" y="2294"/>
                    </a:lnTo>
                    <a:lnTo>
                      <a:pt x="3033" y="2315"/>
                    </a:lnTo>
                    <a:lnTo>
                      <a:pt x="3070" y="2334"/>
                    </a:lnTo>
                    <a:lnTo>
                      <a:pt x="3083" y="2337"/>
                    </a:lnTo>
                    <a:lnTo>
                      <a:pt x="3092" y="2344"/>
                    </a:lnTo>
                    <a:lnTo>
                      <a:pt x="3131" y="2358"/>
                    </a:lnTo>
                    <a:lnTo>
                      <a:pt x="3172" y="2369"/>
                    </a:lnTo>
                    <a:lnTo>
                      <a:pt x="3186" y="2374"/>
                    </a:lnTo>
                    <a:lnTo>
                      <a:pt x="3197" y="2384"/>
                    </a:lnTo>
                    <a:lnTo>
                      <a:pt x="3204" y="2396"/>
                    </a:lnTo>
                    <a:lnTo>
                      <a:pt x="3207" y="2412"/>
                    </a:lnTo>
                    <a:lnTo>
                      <a:pt x="3207" y="3041"/>
                    </a:lnTo>
                    <a:lnTo>
                      <a:pt x="3409" y="3041"/>
                    </a:lnTo>
                    <a:lnTo>
                      <a:pt x="3412" y="3041"/>
                    </a:lnTo>
                    <a:lnTo>
                      <a:pt x="3413" y="3040"/>
                    </a:lnTo>
                    <a:lnTo>
                      <a:pt x="3416" y="3037"/>
                    </a:lnTo>
                    <a:lnTo>
                      <a:pt x="3416" y="3036"/>
                    </a:lnTo>
                    <a:lnTo>
                      <a:pt x="3528" y="2374"/>
                    </a:lnTo>
                    <a:lnTo>
                      <a:pt x="3530" y="2356"/>
                    </a:lnTo>
                    <a:lnTo>
                      <a:pt x="3532" y="2336"/>
                    </a:lnTo>
                    <a:lnTo>
                      <a:pt x="3533" y="2314"/>
                    </a:lnTo>
                    <a:lnTo>
                      <a:pt x="3533" y="2296"/>
                    </a:lnTo>
                    <a:lnTo>
                      <a:pt x="3518" y="1294"/>
                    </a:lnTo>
                    <a:lnTo>
                      <a:pt x="3518" y="1277"/>
                    </a:lnTo>
                    <a:lnTo>
                      <a:pt x="3514" y="1259"/>
                    </a:lnTo>
                    <a:lnTo>
                      <a:pt x="3510" y="1240"/>
                    </a:lnTo>
                    <a:lnTo>
                      <a:pt x="3506" y="1225"/>
                    </a:lnTo>
                    <a:lnTo>
                      <a:pt x="3504" y="1221"/>
                    </a:lnTo>
                    <a:lnTo>
                      <a:pt x="3499" y="1210"/>
                    </a:lnTo>
                    <a:lnTo>
                      <a:pt x="3492" y="1193"/>
                    </a:lnTo>
                    <a:lnTo>
                      <a:pt x="3481" y="1171"/>
                    </a:lnTo>
                    <a:lnTo>
                      <a:pt x="3467" y="1146"/>
                    </a:lnTo>
                    <a:lnTo>
                      <a:pt x="3450" y="1119"/>
                    </a:lnTo>
                    <a:lnTo>
                      <a:pt x="3431" y="1090"/>
                    </a:lnTo>
                    <a:lnTo>
                      <a:pt x="3408" y="1061"/>
                    </a:lnTo>
                    <a:lnTo>
                      <a:pt x="3383" y="1032"/>
                    </a:lnTo>
                    <a:lnTo>
                      <a:pt x="3355" y="1006"/>
                    </a:lnTo>
                    <a:lnTo>
                      <a:pt x="3324" y="981"/>
                    </a:lnTo>
                    <a:lnTo>
                      <a:pt x="3291" y="960"/>
                    </a:lnTo>
                    <a:lnTo>
                      <a:pt x="3253" y="945"/>
                    </a:lnTo>
                    <a:lnTo>
                      <a:pt x="3215" y="936"/>
                    </a:lnTo>
                    <a:lnTo>
                      <a:pt x="1474" y="936"/>
                    </a:lnTo>
                    <a:lnTo>
                      <a:pt x="1473" y="936"/>
                    </a:lnTo>
                    <a:close/>
                    <a:moveTo>
                      <a:pt x="1313" y="412"/>
                    </a:moveTo>
                    <a:lnTo>
                      <a:pt x="1255" y="435"/>
                    </a:lnTo>
                    <a:lnTo>
                      <a:pt x="1194" y="450"/>
                    </a:lnTo>
                    <a:lnTo>
                      <a:pt x="1134" y="460"/>
                    </a:lnTo>
                    <a:lnTo>
                      <a:pt x="1073" y="464"/>
                    </a:lnTo>
                    <a:lnTo>
                      <a:pt x="1008" y="460"/>
                    </a:lnTo>
                    <a:lnTo>
                      <a:pt x="948" y="450"/>
                    </a:lnTo>
                    <a:lnTo>
                      <a:pt x="891" y="435"/>
                    </a:lnTo>
                    <a:lnTo>
                      <a:pt x="836" y="413"/>
                    </a:lnTo>
                    <a:lnTo>
                      <a:pt x="831" y="420"/>
                    </a:lnTo>
                    <a:lnTo>
                      <a:pt x="731" y="501"/>
                    </a:lnTo>
                    <a:lnTo>
                      <a:pt x="724" y="510"/>
                    </a:lnTo>
                    <a:lnTo>
                      <a:pt x="719" y="522"/>
                    </a:lnTo>
                    <a:lnTo>
                      <a:pt x="718" y="534"/>
                    </a:lnTo>
                    <a:lnTo>
                      <a:pt x="735" y="699"/>
                    </a:lnTo>
                    <a:lnTo>
                      <a:pt x="752" y="682"/>
                    </a:lnTo>
                    <a:lnTo>
                      <a:pt x="770" y="670"/>
                    </a:lnTo>
                    <a:lnTo>
                      <a:pt x="792" y="661"/>
                    </a:lnTo>
                    <a:lnTo>
                      <a:pt x="815" y="659"/>
                    </a:lnTo>
                    <a:lnTo>
                      <a:pt x="843" y="663"/>
                    </a:lnTo>
                    <a:lnTo>
                      <a:pt x="866" y="672"/>
                    </a:lnTo>
                    <a:lnTo>
                      <a:pt x="887" y="689"/>
                    </a:lnTo>
                    <a:lnTo>
                      <a:pt x="902" y="710"/>
                    </a:lnTo>
                    <a:lnTo>
                      <a:pt x="913" y="733"/>
                    </a:lnTo>
                    <a:lnTo>
                      <a:pt x="916" y="761"/>
                    </a:lnTo>
                    <a:lnTo>
                      <a:pt x="913" y="787"/>
                    </a:lnTo>
                    <a:lnTo>
                      <a:pt x="902" y="812"/>
                    </a:lnTo>
                    <a:lnTo>
                      <a:pt x="887" y="832"/>
                    </a:lnTo>
                    <a:lnTo>
                      <a:pt x="866" y="847"/>
                    </a:lnTo>
                    <a:lnTo>
                      <a:pt x="843" y="857"/>
                    </a:lnTo>
                    <a:lnTo>
                      <a:pt x="815" y="861"/>
                    </a:lnTo>
                    <a:lnTo>
                      <a:pt x="792" y="858"/>
                    </a:lnTo>
                    <a:lnTo>
                      <a:pt x="770" y="850"/>
                    </a:lnTo>
                    <a:lnTo>
                      <a:pt x="751" y="838"/>
                    </a:lnTo>
                    <a:lnTo>
                      <a:pt x="784" y="1131"/>
                    </a:lnTo>
                    <a:lnTo>
                      <a:pt x="784" y="1134"/>
                    </a:lnTo>
                    <a:lnTo>
                      <a:pt x="786" y="1135"/>
                    </a:lnTo>
                    <a:lnTo>
                      <a:pt x="788" y="1137"/>
                    </a:lnTo>
                    <a:lnTo>
                      <a:pt x="1349" y="1137"/>
                    </a:lnTo>
                    <a:lnTo>
                      <a:pt x="1350" y="1135"/>
                    </a:lnTo>
                    <a:lnTo>
                      <a:pt x="1353" y="1134"/>
                    </a:lnTo>
                    <a:lnTo>
                      <a:pt x="1354" y="1133"/>
                    </a:lnTo>
                    <a:lnTo>
                      <a:pt x="1356" y="1130"/>
                    </a:lnTo>
                    <a:lnTo>
                      <a:pt x="1400" y="846"/>
                    </a:lnTo>
                    <a:lnTo>
                      <a:pt x="1374" y="857"/>
                    </a:lnTo>
                    <a:lnTo>
                      <a:pt x="1345" y="861"/>
                    </a:lnTo>
                    <a:lnTo>
                      <a:pt x="1318" y="857"/>
                    </a:lnTo>
                    <a:lnTo>
                      <a:pt x="1294" y="847"/>
                    </a:lnTo>
                    <a:lnTo>
                      <a:pt x="1273" y="832"/>
                    </a:lnTo>
                    <a:lnTo>
                      <a:pt x="1258" y="812"/>
                    </a:lnTo>
                    <a:lnTo>
                      <a:pt x="1248" y="787"/>
                    </a:lnTo>
                    <a:lnTo>
                      <a:pt x="1244" y="761"/>
                    </a:lnTo>
                    <a:lnTo>
                      <a:pt x="1248" y="733"/>
                    </a:lnTo>
                    <a:lnTo>
                      <a:pt x="1258" y="710"/>
                    </a:lnTo>
                    <a:lnTo>
                      <a:pt x="1273" y="689"/>
                    </a:lnTo>
                    <a:lnTo>
                      <a:pt x="1294" y="672"/>
                    </a:lnTo>
                    <a:lnTo>
                      <a:pt x="1318" y="663"/>
                    </a:lnTo>
                    <a:lnTo>
                      <a:pt x="1345" y="659"/>
                    </a:lnTo>
                    <a:lnTo>
                      <a:pt x="1368" y="661"/>
                    </a:lnTo>
                    <a:lnTo>
                      <a:pt x="1389" y="668"/>
                    </a:lnTo>
                    <a:lnTo>
                      <a:pt x="1407" y="681"/>
                    </a:lnTo>
                    <a:lnTo>
                      <a:pt x="1422" y="696"/>
                    </a:lnTo>
                    <a:lnTo>
                      <a:pt x="1447" y="534"/>
                    </a:lnTo>
                    <a:lnTo>
                      <a:pt x="1447" y="525"/>
                    </a:lnTo>
                    <a:lnTo>
                      <a:pt x="1442" y="514"/>
                    </a:lnTo>
                    <a:lnTo>
                      <a:pt x="1436" y="506"/>
                    </a:lnTo>
                    <a:lnTo>
                      <a:pt x="1318" y="417"/>
                    </a:lnTo>
                    <a:lnTo>
                      <a:pt x="1316" y="415"/>
                    </a:lnTo>
                    <a:lnTo>
                      <a:pt x="1313" y="412"/>
                    </a:lnTo>
                    <a:close/>
                    <a:moveTo>
                      <a:pt x="1775" y="393"/>
                    </a:moveTo>
                    <a:lnTo>
                      <a:pt x="1744" y="394"/>
                    </a:lnTo>
                    <a:lnTo>
                      <a:pt x="1715" y="399"/>
                    </a:lnTo>
                    <a:lnTo>
                      <a:pt x="1688" y="409"/>
                    </a:lnTo>
                    <a:lnTo>
                      <a:pt x="1660" y="423"/>
                    </a:lnTo>
                    <a:lnTo>
                      <a:pt x="1633" y="441"/>
                    </a:lnTo>
                    <a:lnTo>
                      <a:pt x="1608" y="460"/>
                    </a:lnTo>
                    <a:lnTo>
                      <a:pt x="1586" y="484"/>
                    </a:lnTo>
                    <a:lnTo>
                      <a:pt x="1567" y="506"/>
                    </a:lnTo>
                    <a:lnTo>
                      <a:pt x="1553" y="529"/>
                    </a:lnTo>
                    <a:lnTo>
                      <a:pt x="1543" y="552"/>
                    </a:lnTo>
                    <a:lnTo>
                      <a:pt x="1540" y="573"/>
                    </a:lnTo>
                    <a:lnTo>
                      <a:pt x="1544" y="594"/>
                    </a:lnTo>
                    <a:lnTo>
                      <a:pt x="1553" y="616"/>
                    </a:lnTo>
                    <a:lnTo>
                      <a:pt x="1565" y="638"/>
                    </a:lnTo>
                    <a:lnTo>
                      <a:pt x="1582" y="660"/>
                    </a:lnTo>
                    <a:lnTo>
                      <a:pt x="1602" y="681"/>
                    </a:lnTo>
                    <a:lnTo>
                      <a:pt x="1635" y="705"/>
                    </a:lnTo>
                    <a:lnTo>
                      <a:pt x="1671" y="726"/>
                    </a:lnTo>
                    <a:lnTo>
                      <a:pt x="1707" y="740"/>
                    </a:lnTo>
                    <a:lnTo>
                      <a:pt x="1746" y="748"/>
                    </a:lnTo>
                    <a:lnTo>
                      <a:pt x="1783" y="748"/>
                    </a:lnTo>
                    <a:lnTo>
                      <a:pt x="1820" y="744"/>
                    </a:lnTo>
                    <a:lnTo>
                      <a:pt x="1859" y="733"/>
                    </a:lnTo>
                    <a:lnTo>
                      <a:pt x="1897" y="718"/>
                    </a:lnTo>
                    <a:lnTo>
                      <a:pt x="1937" y="700"/>
                    </a:lnTo>
                    <a:lnTo>
                      <a:pt x="1974" y="679"/>
                    </a:lnTo>
                    <a:lnTo>
                      <a:pt x="2009" y="656"/>
                    </a:lnTo>
                    <a:lnTo>
                      <a:pt x="2038" y="632"/>
                    </a:lnTo>
                    <a:lnTo>
                      <a:pt x="2061" y="610"/>
                    </a:lnTo>
                    <a:lnTo>
                      <a:pt x="2078" y="588"/>
                    </a:lnTo>
                    <a:lnTo>
                      <a:pt x="2082" y="583"/>
                    </a:lnTo>
                    <a:lnTo>
                      <a:pt x="2083" y="577"/>
                    </a:lnTo>
                    <a:lnTo>
                      <a:pt x="2085" y="574"/>
                    </a:lnTo>
                    <a:lnTo>
                      <a:pt x="2085" y="572"/>
                    </a:lnTo>
                    <a:lnTo>
                      <a:pt x="2086" y="569"/>
                    </a:lnTo>
                    <a:lnTo>
                      <a:pt x="2085" y="569"/>
                    </a:lnTo>
                    <a:lnTo>
                      <a:pt x="2074" y="548"/>
                    </a:lnTo>
                    <a:lnTo>
                      <a:pt x="2056" y="526"/>
                    </a:lnTo>
                    <a:lnTo>
                      <a:pt x="2032" y="504"/>
                    </a:lnTo>
                    <a:lnTo>
                      <a:pt x="2005" y="481"/>
                    </a:lnTo>
                    <a:lnTo>
                      <a:pt x="1973" y="457"/>
                    </a:lnTo>
                    <a:lnTo>
                      <a:pt x="1937" y="437"/>
                    </a:lnTo>
                    <a:lnTo>
                      <a:pt x="1899" y="419"/>
                    </a:lnTo>
                    <a:lnTo>
                      <a:pt x="1859" y="405"/>
                    </a:lnTo>
                    <a:lnTo>
                      <a:pt x="1817" y="397"/>
                    </a:lnTo>
                    <a:lnTo>
                      <a:pt x="1775" y="393"/>
                    </a:lnTo>
                    <a:close/>
                    <a:moveTo>
                      <a:pt x="396" y="393"/>
                    </a:moveTo>
                    <a:lnTo>
                      <a:pt x="354" y="397"/>
                    </a:lnTo>
                    <a:lnTo>
                      <a:pt x="312" y="405"/>
                    </a:lnTo>
                    <a:lnTo>
                      <a:pt x="272" y="419"/>
                    </a:lnTo>
                    <a:lnTo>
                      <a:pt x="234" y="437"/>
                    </a:lnTo>
                    <a:lnTo>
                      <a:pt x="198" y="457"/>
                    </a:lnTo>
                    <a:lnTo>
                      <a:pt x="166" y="481"/>
                    </a:lnTo>
                    <a:lnTo>
                      <a:pt x="139" y="504"/>
                    </a:lnTo>
                    <a:lnTo>
                      <a:pt x="115" y="526"/>
                    </a:lnTo>
                    <a:lnTo>
                      <a:pt x="97" y="548"/>
                    </a:lnTo>
                    <a:lnTo>
                      <a:pt x="86" y="569"/>
                    </a:lnTo>
                    <a:lnTo>
                      <a:pt x="85" y="569"/>
                    </a:lnTo>
                    <a:lnTo>
                      <a:pt x="86" y="572"/>
                    </a:lnTo>
                    <a:lnTo>
                      <a:pt x="86" y="574"/>
                    </a:lnTo>
                    <a:lnTo>
                      <a:pt x="88" y="577"/>
                    </a:lnTo>
                    <a:lnTo>
                      <a:pt x="89" y="583"/>
                    </a:lnTo>
                    <a:lnTo>
                      <a:pt x="93" y="588"/>
                    </a:lnTo>
                    <a:lnTo>
                      <a:pt x="110" y="610"/>
                    </a:lnTo>
                    <a:lnTo>
                      <a:pt x="133" y="632"/>
                    </a:lnTo>
                    <a:lnTo>
                      <a:pt x="162" y="656"/>
                    </a:lnTo>
                    <a:lnTo>
                      <a:pt x="197" y="679"/>
                    </a:lnTo>
                    <a:lnTo>
                      <a:pt x="234" y="700"/>
                    </a:lnTo>
                    <a:lnTo>
                      <a:pt x="274" y="718"/>
                    </a:lnTo>
                    <a:lnTo>
                      <a:pt x="312" y="733"/>
                    </a:lnTo>
                    <a:lnTo>
                      <a:pt x="351" y="744"/>
                    </a:lnTo>
                    <a:lnTo>
                      <a:pt x="388" y="748"/>
                    </a:lnTo>
                    <a:lnTo>
                      <a:pt x="425" y="748"/>
                    </a:lnTo>
                    <a:lnTo>
                      <a:pt x="464" y="740"/>
                    </a:lnTo>
                    <a:lnTo>
                      <a:pt x="500" y="726"/>
                    </a:lnTo>
                    <a:lnTo>
                      <a:pt x="536" y="705"/>
                    </a:lnTo>
                    <a:lnTo>
                      <a:pt x="569" y="681"/>
                    </a:lnTo>
                    <a:lnTo>
                      <a:pt x="589" y="660"/>
                    </a:lnTo>
                    <a:lnTo>
                      <a:pt x="606" y="638"/>
                    </a:lnTo>
                    <a:lnTo>
                      <a:pt x="618" y="616"/>
                    </a:lnTo>
                    <a:lnTo>
                      <a:pt x="627" y="594"/>
                    </a:lnTo>
                    <a:lnTo>
                      <a:pt x="631" y="573"/>
                    </a:lnTo>
                    <a:lnTo>
                      <a:pt x="628" y="552"/>
                    </a:lnTo>
                    <a:lnTo>
                      <a:pt x="618" y="529"/>
                    </a:lnTo>
                    <a:lnTo>
                      <a:pt x="605" y="506"/>
                    </a:lnTo>
                    <a:lnTo>
                      <a:pt x="585" y="484"/>
                    </a:lnTo>
                    <a:lnTo>
                      <a:pt x="563" y="460"/>
                    </a:lnTo>
                    <a:lnTo>
                      <a:pt x="538" y="441"/>
                    </a:lnTo>
                    <a:lnTo>
                      <a:pt x="511" y="423"/>
                    </a:lnTo>
                    <a:lnTo>
                      <a:pt x="483" y="409"/>
                    </a:lnTo>
                    <a:lnTo>
                      <a:pt x="456" y="399"/>
                    </a:lnTo>
                    <a:lnTo>
                      <a:pt x="427" y="394"/>
                    </a:lnTo>
                    <a:lnTo>
                      <a:pt x="396" y="393"/>
                    </a:lnTo>
                    <a:close/>
                    <a:moveTo>
                      <a:pt x="607" y="0"/>
                    </a:moveTo>
                    <a:lnTo>
                      <a:pt x="624" y="5"/>
                    </a:lnTo>
                    <a:lnTo>
                      <a:pt x="636" y="16"/>
                    </a:lnTo>
                    <a:lnTo>
                      <a:pt x="643" y="33"/>
                    </a:lnTo>
                    <a:lnTo>
                      <a:pt x="660" y="88"/>
                    </a:lnTo>
                    <a:lnTo>
                      <a:pt x="679" y="136"/>
                    </a:lnTo>
                    <a:lnTo>
                      <a:pt x="702" y="179"/>
                    </a:lnTo>
                    <a:lnTo>
                      <a:pt x="727" y="218"/>
                    </a:lnTo>
                    <a:lnTo>
                      <a:pt x="756" y="251"/>
                    </a:lnTo>
                    <a:lnTo>
                      <a:pt x="785" y="278"/>
                    </a:lnTo>
                    <a:lnTo>
                      <a:pt x="815" y="302"/>
                    </a:lnTo>
                    <a:lnTo>
                      <a:pt x="847" y="321"/>
                    </a:lnTo>
                    <a:lnTo>
                      <a:pt x="880" y="337"/>
                    </a:lnTo>
                    <a:lnTo>
                      <a:pt x="912" y="350"/>
                    </a:lnTo>
                    <a:lnTo>
                      <a:pt x="942" y="359"/>
                    </a:lnTo>
                    <a:lnTo>
                      <a:pt x="973" y="366"/>
                    </a:lnTo>
                    <a:lnTo>
                      <a:pt x="1001" y="372"/>
                    </a:lnTo>
                    <a:lnTo>
                      <a:pt x="1028" y="375"/>
                    </a:lnTo>
                    <a:lnTo>
                      <a:pt x="1051" y="376"/>
                    </a:lnTo>
                    <a:lnTo>
                      <a:pt x="1073" y="377"/>
                    </a:lnTo>
                    <a:lnTo>
                      <a:pt x="1110" y="376"/>
                    </a:lnTo>
                    <a:lnTo>
                      <a:pt x="1149" y="372"/>
                    </a:lnTo>
                    <a:lnTo>
                      <a:pt x="1188" y="364"/>
                    </a:lnTo>
                    <a:lnTo>
                      <a:pt x="1226" y="354"/>
                    </a:lnTo>
                    <a:lnTo>
                      <a:pt x="1265" y="340"/>
                    </a:lnTo>
                    <a:lnTo>
                      <a:pt x="1302" y="322"/>
                    </a:lnTo>
                    <a:lnTo>
                      <a:pt x="1338" y="300"/>
                    </a:lnTo>
                    <a:lnTo>
                      <a:pt x="1371" y="275"/>
                    </a:lnTo>
                    <a:lnTo>
                      <a:pt x="1401" y="246"/>
                    </a:lnTo>
                    <a:lnTo>
                      <a:pt x="1430" y="213"/>
                    </a:lnTo>
                    <a:lnTo>
                      <a:pt x="1454" y="176"/>
                    </a:lnTo>
                    <a:lnTo>
                      <a:pt x="1474" y="133"/>
                    </a:lnTo>
                    <a:lnTo>
                      <a:pt x="1491" y="87"/>
                    </a:lnTo>
                    <a:lnTo>
                      <a:pt x="1502" y="36"/>
                    </a:lnTo>
                    <a:lnTo>
                      <a:pt x="1507" y="19"/>
                    </a:lnTo>
                    <a:lnTo>
                      <a:pt x="1520" y="8"/>
                    </a:lnTo>
                    <a:lnTo>
                      <a:pt x="1535" y="0"/>
                    </a:lnTo>
                    <a:lnTo>
                      <a:pt x="1551" y="0"/>
                    </a:lnTo>
                    <a:lnTo>
                      <a:pt x="1568" y="5"/>
                    </a:lnTo>
                    <a:lnTo>
                      <a:pt x="1580" y="16"/>
                    </a:lnTo>
                    <a:lnTo>
                      <a:pt x="1587" y="31"/>
                    </a:lnTo>
                    <a:lnTo>
                      <a:pt x="1587" y="49"/>
                    </a:lnTo>
                    <a:lnTo>
                      <a:pt x="1576" y="102"/>
                    </a:lnTo>
                    <a:lnTo>
                      <a:pt x="1561" y="150"/>
                    </a:lnTo>
                    <a:lnTo>
                      <a:pt x="1542" y="195"/>
                    </a:lnTo>
                    <a:lnTo>
                      <a:pt x="1518" y="237"/>
                    </a:lnTo>
                    <a:lnTo>
                      <a:pt x="1492" y="274"/>
                    </a:lnTo>
                    <a:lnTo>
                      <a:pt x="1462" y="308"/>
                    </a:lnTo>
                    <a:lnTo>
                      <a:pt x="1430" y="339"/>
                    </a:lnTo>
                    <a:lnTo>
                      <a:pt x="1394" y="366"/>
                    </a:lnTo>
                    <a:lnTo>
                      <a:pt x="1488" y="437"/>
                    </a:lnTo>
                    <a:lnTo>
                      <a:pt x="1495" y="442"/>
                    </a:lnTo>
                    <a:lnTo>
                      <a:pt x="1502" y="449"/>
                    </a:lnTo>
                    <a:lnTo>
                      <a:pt x="1533" y="412"/>
                    </a:lnTo>
                    <a:lnTo>
                      <a:pt x="1571" y="379"/>
                    </a:lnTo>
                    <a:lnTo>
                      <a:pt x="1611" y="351"/>
                    </a:lnTo>
                    <a:lnTo>
                      <a:pt x="1653" y="329"/>
                    </a:lnTo>
                    <a:lnTo>
                      <a:pt x="1695" y="315"/>
                    </a:lnTo>
                    <a:lnTo>
                      <a:pt x="1746" y="307"/>
                    </a:lnTo>
                    <a:lnTo>
                      <a:pt x="1797" y="307"/>
                    </a:lnTo>
                    <a:lnTo>
                      <a:pt x="1848" y="314"/>
                    </a:lnTo>
                    <a:lnTo>
                      <a:pt x="1897" y="326"/>
                    </a:lnTo>
                    <a:lnTo>
                      <a:pt x="1944" y="344"/>
                    </a:lnTo>
                    <a:lnTo>
                      <a:pt x="1988" y="366"/>
                    </a:lnTo>
                    <a:lnTo>
                      <a:pt x="2030" y="393"/>
                    </a:lnTo>
                    <a:lnTo>
                      <a:pt x="2067" y="420"/>
                    </a:lnTo>
                    <a:lnTo>
                      <a:pt x="2100" y="448"/>
                    </a:lnTo>
                    <a:lnTo>
                      <a:pt x="2127" y="477"/>
                    </a:lnTo>
                    <a:lnTo>
                      <a:pt x="2149" y="506"/>
                    </a:lnTo>
                    <a:lnTo>
                      <a:pt x="2165" y="532"/>
                    </a:lnTo>
                    <a:lnTo>
                      <a:pt x="2169" y="547"/>
                    </a:lnTo>
                    <a:lnTo>
                      <a:pt x="2172" y="563"/>
                    </a:lnTo>
                    <a:lnTo>
                      <a:pt x="2172" y="584"/>
                    </a:lnTo>
                    <a:lnTo>
                      <a:pt x="2166" y="608"/>
                    </a:lnTo>
                    <a:lnTo>
                      <a:pt x="2154" y="632"/>
                    </a:lnTo>
                    <a:lnTo>
                      <a:pt x="2130" y="664"/>
                    </a:lnTo>
                    <a:lnTo>
                      <a:pt x="2098" y="696"/>
                    </a:lnTo>
                    <a:lnTo>
                      <a:pt x="2061" y="725"/>
                    </a:lnTo>
                    <a:lnTo>
                      <a:pt x="2020" y="754"/>
                    </a:lnTo>
                    <a:lnTo>
                      <a:pt x="1974" y="778"/>
                    </a:lnTo>
                    <a:lnTo>
                      <a:pt x="1928" y="800"/>
                    </a:lnTo>
                    <a:lnTo>
                      <a:pt x="1879" y="817"/>
                    </a:lnTo>
                    <a:lnTo>
                      <a:pt x="1833" y="829"/>
                    </a:lnTo>
                    <a:lnTo>
                      <a:pt x="1788" y="835"/>
                    </a:lnTo>
                    <a:lnTo>
                      <a:pt x="1770" y="836"/>
                    </a:lnTo>
                    <a:lnTo>
                      <a:pt x="1722" y="832"/>
                    </a:lnTo>
                    <a:lnTo>
                      <a:pt x="1674" y="821"/>
                    </a:lnTo>
                    <a:lnTo>
                      <a:pt x="1629" y="802"/>
                    </a:lnTo>
                    <a:lnTo>
                      <a:pt x="1584" y="777"/>
                    </a:lnTo>
                    <a:lnTo>
                      <a:pt x="1544" y="745"/>
                    </a:lnTo>
                    <a:lnTo>
                      <a:pt x="1525" y="726"/>
                    </a:lnTo>
                    <a:lnTo>
                      <a:pt x="1509" y="707"/>
                    </a:lnTo>
                    <a:lnTo>
                      <a:pt x="1487" y="849"/>
                    </a:lnTo>
                    <a:lnTo>
                      <a:pt x="3218" y="849"/>
                    </a:lnTo>
                    <a:lnTo>
                      <a:pt x="3223" y="850"/>
                    </a:lnTo>
                    <a:lnTo>
                      <a:pt x="3230" y="849"/>
                    </a:lnTo>
                    <a:lnTo>
                      <a:pt x="3302" y="849"/>
                    </a:lnTo>
                    <a:lnTo>
                      <a:pt x="3368" y="850"/>
                    </a:lnTo>
                    <a:lnTo>
                      <a:pt x="3426" y="853"/>
                    </a:lnTo>
                    <a:lnTo>
                      <a:pt x="3478" y="856"/>
                    </a:lnTo>
                    <a:lnTo>
                      <a:pt x="3524" y="861"/>
                    </a:lnTo>
                    <a:lnTo>
                      <a:pt x="3564" y="868"/>
                    </a:lnTo>
                    <a:lnTo>
                      <a:pt x="3599" y="875"/>
                    </a:lnTo>
                    <a:lnTo>
                      <a:pt x="3631" y="883"/>
                    </a:lnTo>
                    <a:lnTo>
                      <a:pt x="3659" y="891"/>
                    </a:lnTo>
                    <a:lnTo>
                      <a:pt x="3683" y="901"/>
                    </a:lnTo>
                    <a:lnTo>
                      <a:pt x="3704" y="911"/>
                    </a:lnTo>
                    <a:lnTo>
                      <a:pt x="3723" y="922"/>
                    </a:lnTo>
                    <a:lnTo>
                      <a:pt x="3741" y="933"/>
                    </a:lnTo>
                    <a:lnTo>
                      <a:pt x="3758" y="944"/>
                    </a:lnTo>
                    <a:lnTo>
                      <a:pt x="3774" y="955"/>
                    </a:lnTo>
                    <a:lnTo>
                      <a:pt x="3791" y="966"/>
                    </a:lnTo>
                    <a:lnTo>
                      <a:pt x="3841" y="1003"/>
                    </a:lnTo>
                    <a:lnTo>
                      <a:pt x="3880" y="1042"/>
                    </a:lnTo>
                    <a:lnTo>
                      <a:pt x="3914" y="1082"/>
                    </a:lnTo>
                    <a:lnTo>
                      <a:pt x="3940" y="1123"/>
                    </a:lnTo>
                    <a:lnTo>
                      <a:pt x="3959" y="1166"/>
                    </a:lnTo>
                    <a:lnTo>
                      <a:pt x="3971" y="1208"/>
                    </a:lnTo>
                    <a:lnTo>
                      <a:pt x="3980" y="1253"/>
                    </a:lnTo>
                    <a:lnTo>
                      <a:pt x="3982" y="1297"/>
                    </a:lnTo>
                    <a:lnTo>
                      <a:pt x="3982" y="1342"/>
                    </a:lnTo>
                    <a:lnTo>
                      <a:pt x="3978" y="1386"/>
                    </a:lnTo>
                    <a:lnTo>
                      <a:pt x="3971" y="1430"/>
                    </a:lnTo>
                    <a:lnTo>
                      <a:pt x="3962" y="1474"/>
                    </a:lnTo>
                    <a:lnTo>
                      <a:pt x="3951" y="1517"/>
                    </a:lnTo>
                    <a:lnTo>
                      <a:pt x="3940" y="1560"/>
                    </a:lnTo>
                    <a:lnTo>
                      <a:pt x="3929" y="1600"/>
                    </a:lnTo>
                    <a:lnTo>
                      <a:pt x="3916" y="1641"/>
                    </a:lnTo>
                    <a:lnTo>
                      <a:pt x="3905" y="1683"/>
                    </a:lnTo>
                    <a:lnTo>
                      <a:pt x="3896" y="1721"/>
                    </a:lnTo>
                    <a:lnTo>
                      <a:pt x="3889" y="1760"/>
                    </a:lnTo>
                    <a:lnTo>
                      <a:pt x="3883" y="1796"/>
                    </a:lnTo>
                    <a:lnTo>
                      <a:pt x="3883" y="1830"/>
                    </a:lnTo>
                    <a:lnTo>
                      <a:pt x="3886" y="1862"/>
                    </a:lnTo>
                    <a:lnTo>
                      <a:pt x="3894" y="1891"/>
                    </a:lnTo>
                    <a:lnTo>
                      <a:pt x="3897" y="1907"/>
                    </a:lnTo>
                    <a:lnTo>
                      <a:pt x="3894" y="1924"/>
                    </a:lnTo>
                    <a:lnTo>
                      <a:pt x="3885" y="1937"/>
                    </a:lnTo>
                    <a:lnTo>
                      <a:pt x="3869" y="1947"/>
                    </a:lnTo>
                    <a:lnTo>
                      <a:pt x="3863" y="1950"/>
                    </a:lnTo>
                    <a:lnTo>
                      <a:pt x="3854" y="1950"/>
                    </a:lnTo>
                    <a:lnTo>
                      <a:pt x="3838" y="1947"/>
                    </a:lnTo>
                    <a:lnTo>
                      <a:pt x="3824" y="1937"/>
                    </a:lnTo>
                    <a:lnTo>
                      <a:pt x="3814" y="1922"/>
                    </a:lnTo>
                    <a:lnTo>
                      <a:pt x="3802" y="1884"/>
                    </a:lnTo>
                    <a:lnTo>
                      <a:pt x="3796" y="1844"/>
                    </a:lnTo>
                    <a:lnTo>
                      <a:pt x="3796" y="1801"/>
                    </a:lnTo>
                    <a:lnTo>
                      <a:pt x="3801" y="1758"/>
                    </a:lnTo>
                    <a:lnTo>
                      <a:pt x="3809" y="1714"/>
                    </a:lnTo>
                    <a:lnTo>
                      <a:pt x="3818" y="1669"/>
                    </a:lnTo>
                    <a:lnTo>
                      <a:pt x="3831" y="1623"/>
                    </a:lnTo>
                    <a:lnTo>
                      <a:pt x="3845" y="1576"/>
                    </a:lnTo>
                    <a:lnTo>
                      <a:pt x="3857" y="1534"/>
                    </a:lnTo>
                    <a:lnTo>
                      <a:pt x="3868" y="1491"/>
                    </a:lnTo>
                    <a:lnTo>
                      <a:pt x="3879" y="1448"/>
                    </a:lnTo>
                    <a:lnTo>
                      <a:pt x="3887" y="1407"/>
                    </a:lnTo>
                    <a:lnTo>
                      <a:pt x="3894" y="1366"/>
                    </a:lnTo>
                    <a:lnTo>
                      <a:pt x="3897" y="1326"/>
                    </a:lnTo>
                    <a:lnTo>
                      <a:pt x="3897" y="1286"/>
                    </a:lnTo>
                    <a:lnTo>
                      <a:pt x="3892" y="1247"/>
                    </a:lnTo>
                    <a:lnTo>
                      <a:pt x="3882" y="1210"/>
                    </a:lnTo>
                    <a:lnTo>
                      <a:pt x="3867" y="1173"/>
                    </a:lnTo>
                    <a:lnTo>
                      <a:pt x="3846" y="1137"/>
                    </a:lnTo>
                    <a:lnTo>
                      <a:pt x="3818" y="1102"/>
                    </a:lnTo>
                    <a:lnTo>
                      <a:pt x="3784" y="1069"/>
                    </a:lnTo>
                    <a:lnTo>
                      <a:pt x="3743" y="1038"/>
                    </a:lnTo>
                    <a:lnTo>
                      <a:pt x="3725" y="1027"/>
                    </a:lnTo>
                    <a:lnTo>
                      <a:pt x="3708" y="1014"/>
                    </a:lnTo>
                    <a:lnTo>
                      <a:pt x="3690" y="1003"/>
                    </a:lnTo>
                    <a:lnTo>
                      <a:pt x="3670" y="992"/>
                    </a:lnTo>
                    <a:lnTo>
                      <a:pt x="3648" y="981"/>
                    </a:lnTo>
                    <a:lnTo>
                      <a:pt x="3623" y="971"/>
                    </a:lnTo>
                    <a:lnTo>
                      <a:pt x="3592" y="962"/>
                    </a:lnTo>
                    <a:lnTo>
                      <a:pt x="3557" y="955"/>
                    </a:lnTo>
                    <a:lnTo>
                      <a:pt x="3515" y="948"/>
                    </a:lnTo>
                    <a:lnTo>
                      <a:pt x="3467" y="942"/>
                    </a:lnTo>
                    <a:lnTo>
                      <a:pt x="3409" y="938"/>
                    </a:lnTo>
                    <a:lnTo>
                      <a:pt x="3439" y="966"/>
                    </a:lnTo>
                    <a:lnTo>
                      <a:pt x="3467" y="996"/>
                    </a:lnTo>
                    <a:lnTo>
                      <a:pt x="3492" y="1027"/>
                    </a:lnTo>
                    <a:lnTo>
                      <a:pt x="3514" y="1057"/>
                    </a:lnTo>
                    <a:lnTo>
                      <a:pt x="3532" y="1086"/>
                    </a:lnTo>
                    <a:lnTo>
                      <a:pt x="3548" y="1113"/>
                    </a:lnTo>
                    <a:lnTo>
                      <a:pt x="3561" y="1138"/>
                    </a:lnTo>
                    <a:lnTo>
                      <a:pt x="3572" y="1160"/>
                    </a:lnTo>
                    <a:lnTo>
                      <a:pt x="3580" y="1177"/>
                    </a:lnTo>
                    <a:lnTo>
                      <a:pt x="3584" y="1188"/>
                    </a:lnTo>
                    <a:lnTo>
                      <a:pt x="3587" y="1193"/>
                    </a:lnTo>
                    <a:lnTo>
                      <a:pt x="3594" y="1217"/>
                    </a:lnTo>
                    <a:lnTo>
                      <a:pt x="3599" y="1243"/>
                    </a:lnTo>
                    <a:lnTo>
                      <a:pt x="3603" y="1269"/>
                    </a:lnTo>
                    <a:lnTo>
                      <a:pt x="3605" y="1292"/>
                    </a:lnTo>
                    <a:lnTo>
                      <a:pt x="3620" y="2294"/>
                    </a:lnTo>
                    <a:lnTo>
                      <a:pt x="3620" y="2316"/>
                    </a:lnTo>
                    <a:lnTo>
                      <a:pt x="3619" y="2341"/>
                    </a:lnTo>
                    <a:lnTo>
                      <a:pt x="3616" y="2366"/>
                    </a:lnTo>
                    <a:lnTo>
                      <a:pt x="3613" y="2388"/>
                    </a:lnTo>
                    <a:lnTo>
                      <a:pt x="3503" y="3050"/>
                    </a:lnTo>
                    <a:lnTo>
                      <a:pt x="3495" y="3074"/>
                    </a:lnTo>
                    <a:lnTo>
                      <a:pt x="3479" y="3097"/>
                    </a:lnTo>
                    <a:lnTo>
                      <a:pt x="3459" y="3114"/>
                    </a:lnTo>
                    <a:lnTo>
                      <a:pt x="3435" y="3125"/>
                    </a:lnTo>
                    <a:lnTo>
                      <a:pt x="3409" y="3128"/>
                    </a:lnTo>
                    <a:lnTo>
                      <a:pt x="2902" y="3128"/>
                    </a:lnTo>
                    <a:lnTo>
                      <a:pt x="2879" y="3125"/>
                    </a:lnTo>
                    <a:lnTo>
                      <a:pt x="2858" y="3117"/>
                    </a:lnTo>
                    <a:lnTo>
                      <a:pt x="2840" y="3103"/>
                    </a:lnTo>
                    <a:lnTo>
                      <a:pt x="2826" y="3086"/>
                    </a:lnTo>
                    <a:lnTo>
                      <a:pt x="2818" y="3065"/>
                    </a:lnTo>
                    <a:lnTo>
                      <a:pt x="2815" y="3041"/>
                    </a:lnTo>
                    <a:lnTo>
                      <a:pt x="2815" y="2543"/>
                    </a:lnTo>
                    <a:lnTo>
                      <a:pt x="2760" y="2549"/>
                    </a:lnTo>
                    <a:lnTo>
                      <a:pt x="2705" y="2552"/>
                    </a:lnTo>
                    <a:lnTo>
                      <a:pt x="2659" y="2551"/>
                    </a:lnTo>
                    <a:lnTo>
                      <a:pt x="2615" y="2545"/>
                    </a:lnTo>
                    <a:lnTo>
                      <a:pt x="2615" y="2628"/>
                    </a:lnTo>
                    <a:lnTo>
                      <a:pt x="2611" y="2646"/>
                    </a:lnTo>
                    <a:lnTo>
                      <a:pt x="2603" y="2660"/>
                    </a:lnTo>
                    <a:lnTo>
                      <a:pt x="2589" y="2668"/>
                    </a:lnTo>
                    <a:lnTo>
                      <a:pt x="2571" y="2672"/>
                    </a:lnTo>
                    <a:lnTo>
                      <a:pt x="2555" y="2668"/>
                    </a:lnTo>
                    <a:lnTo>
                      <a:pt x="2541" y="2660"/>
                    </a:lnTo>
                    <a:lnTo>
                      <a:pt x="2531" y="2646"/>
                    </a:lnTo>
                    <a:lnTo>
                      <a:pt x="2528" y="2628"/>
                    </a:lnTo>
                    <a:lnTo>
                      <a:pt x="2528" y="2527"/>
                    </a:lnTo>
                    <a:lnTo>
                      <a:pt x="2476" y="2509"/>
                    </a:lnTo>
                    <a:lnTo>
                      <a:pt x="2428" y="2487"/>
                    </a:lnTo>
                    <a:lnTo>
                      <a:pt x="2382" y="2461"/>
                    </a:lnTo>
                    <a:lnTo>
                      <a:pt x="2342" y="2432"/>
                    </a:lnTo>
                    <a:lnTo>
                      <a:pt x="2342" y="2494"/>
                    </a:lnTo>
                    <a:lnTo>
                      <a:pt x="2338" y="2512"/>
                    </a:lnTo>
                    <a:lnTo>
                      <a:pt x="2329" y="2526"/>
                    </a:lnTo>
                    <a:lnTo>
                      <a:pt x="2315" y="2534"/>
                    </a:lnTo>
                    <a:lnTo>
                      <a:pt x="2298" y="2538"/>
                    </a:lnTo>
                    <a:lnTo>
                      <a:pt x="2282" y="2534"/>
                    </a:lnTo>
                    <a:lnTo>
                      <a:pt x="2268" y="2526"/>
                    </a:lnTo>
                    <a:lnTo>
                      <a:pt x="2258" y="2512"/>
                    </a:lnTo>
                    <a:lnTo>
                      <a:pt x="2256" y="2494"/>
                    </a:lnTo>
                    <a:lnTo>
                      <a:pt x="2256" y="2352"/>
                    </a:lnTo>
                    <a:lnTo>
                      <a:pt x="2254" y="2341"/>
                    </a:lnTo>
                    <a:lnTo>
                      <a:pt x="2249" y="2328"/>
                    </a:lnTo>
                    <a:lnTo>
                      <a:pt x="2242" y="2311"/>
                    </a:lnTo>
                    <a:lnTo>
                      <a:pt x="2234" y="2293"/>
                    </a:lnTo>
                    <a:lnTo>
                      <a:pt x="2227" y="2274"/>
                    </a:lnTo>
                    <a:lnTo>
                      <a:pt x="2218" y="2256"/>
                    </a:lnTo>
                    <a:lnTo>
                      <a:pt x="2214" y="2239"/>
                    </a:lnTo>
                    <a:lnTo>
                      <a:pt x="1922" y="2239"/>
                    </a:lnTo>
                    <a:lnTo>
                      <a:pt x="1921" y="2241"/>
                    </a:lnTo>
                    <a:lnTo>
                      <a:pt x="1919" y="2242"/>
                    </a:lnTo>
                    <a:lnTo>
                      <a:pt x="1919" y="2243"/>
                    </a:lnTo>
                    <a:lnTo>
                      <a:pt x="1860" y="3040"/>
                    </a:lnTo>
                    <a:lnTo>
                      <a:pt x="1855" y="3063"/>
                    </a:lnTo>
                    <a:lnTo>
                      <a:pt x="1845" y="3083"/>
                    </a:lnTo>
                    <a:lnTo>
                      <a:pt x="1831" y="3099"/>
                    </a:lnTo>
                    <a:lnTo>
                      <a:pt x="1813" y="3113"/>
                    </a:lnTo>
                    <a:lnTo>
                      <a:pt x="1793" y="3121"/>
                    </a:lnTo>
                    <a:lnTo>
                      <a:pt x="1769" y="3124"/>
                    </a:lnTo>
                    <a:lnTo>
                      <a:pt x="1273" y="3124"/>
                    </a:lnTo>
                    <a:lnTo>
                      <a:pt x="1250" y="3121"/>
                    </a:lnTo>
                    <a:lnTo>
                      <a:pt x="1229" y="3113"/>
                    </a:lnTo>
                    <a:lnTo>
                      <a:pt x="1211" y="3099"/>
                    </a:lnTo>
                    <a:lnTo>
                      <a:pt x="1197" y="3083"/>
                    </a:lnTo>
                    <a:lnTo>
                      <a:pt x="1188" y="3062"/>
                    </a:lnTo>
                    <a:lnTo>
                      <a:pt x="1182" y="3040"/>
                    </a:lnTo>
                    <a:lnTo>
                      <a:pt x="1124" y="2181"/>
                    </a:lnTo>
                    <a:lnTo>
                      <a:pt x="1087" y="2158"/>
                    </a:lnTo>
                    <a:lnTo>
                      <a:pt x="1050" y="2129"/>
                    </a:lnTo>
                    <a:lnTo>
                      <a:pt x="1014" y="2096"/>
                    </a:lnTo>
                    <a:lnTo>
                      <a:pt x="981" y="2059"/>
                    </a:lnTo>
                    <a:lnTo>
                      <a:pt x="950" y="2016"/>
                    </a:lnTo>
                    <a:lnTo>
                      <a:pt x="927" y="1972"/>
                    </a:lnTo>
                    <a:lnTo>
                      <a:pt x="908" y="1926"/>
                    </a:lnTo>
                    <a:lnTo>
                      <a:pt x="893" y="1881"/>
                    </a:lnTo>
                    <a:lnTo>
                      <a:pt x="882" y="1836"/>
                    </a:lnTo>
                    <a:lnTo>
                      <a:pt x="875" y="1793"/>
                    </a:lnTo>
                    <a:lnTo>
                      <a:pt x="871" y="1751"/>
                    </a:lnTo>
                    <a:lnTo>
                      <a:pt x="869" y="1713"/>
                    </a:lnTo>
                    <a:lnTo>
                      <a:pt x="869" y="1678"/>
                    </a:lnTo>
                    <a:lnTo>
                      <a:pt x="871" y="1648"/>
                    </a:lnTo>
                    <a:lnTo>
                      <a:pt x="811" y="1633"/>
                    </a:lnTo>
                    <a:lnTo>
                      <a:pt x="756" y="1612"/>
                    </a:lnTo>
                    <a:lnTo>
                      <a:pt x="707" y="1589"/>
                    </a:lnTo>
                    <a:lnTo>
                      <a:pt x="662" y="1563"/>
                    </a:lnTo>
                    <a:lnTo>
                      <a:pt x="622" y="1534"/>
                    </a:lnTo>
                    <a:lnTo>
                      <a:pt x="589" y="1501"/>
                    </a:lnTo>
                    <a:lnTo>
                      <a:pt x="563" y="1466"/>
                    </a:lnTo>
                    <a:lnTo>
                      <a:pt x="544" y="1429"/>
                    </a:lnTo>
                    <a:lnTo>
                      <a:pt x="532" y="1390"/>
                    </a:lnTo>
                    <a:lnTo>
                      <a:pt x="527" y="1350"/>
                    </a:lnTo>
                    <a:lnTo>
                      <a:pt x="530" y="1323"/>
                    </a:lnTo>
                    <a:lnTo>
                      <a:pt x="538" y="1298"/>
                    </a:lnTo>
                    <a:lnTo>
                      <a:pt x="551" y="1276"/>
                    </a:lnTo>
                    <a:lnTo>
                      <a:pt x="569" y="1255"/>
                    </a:lnTo>
                    <a:lnTo>
                      <a:pt x="588" y="1236"/>
                    </a:lnTo>
                    <a:lnTo>
                      <a:pt x="611" y="1218"/>
                    </a:lnTo>
                    <a:lnTo>
                      <a:pt x="636" y="1202"/>
                    </a:lnTo>
                    <a:lnTo>
                      <a:pt x="661" y="1186"/>
                    </a:lnTo>
                    <a:lnTo>
                      <a:pt x="687" y="1170"/>
                    </a:lnTo>
                    <a:lnTo>
                      <a:pt x="702" y="1162"/>
                    </a:lnTo>
                    <a:lnTo>
                      <a:pt x="698" y="1152"/>
                    </a:lnTo>
                    <a:lnTo>
                      <a:pt x="697" y="1141"/>
                    </a:lnTo>
                    <a:lnTo>
                      <a:pt x="651" y="721"/>
                    </a:lnTo>
                    <a:lnTo>
                      <a:pt x="627" y="745"/>
                    </a:lnTo>
                    <a:lnTo>
                      <a:pt x="587" y="777"/>
                    </a:lnTo>
                    <a:lnTo>
                      <a:pt x="543" y="802"/>
                    </a:lnTo>
                    <a:lnTo>
                      <a:pt x="497" y="821"/>
                    </a:lnTo>
                    <a:lnTo>
                      <a:pt x="449" y="832"/>
                    </a:lnTo>
                    <a:lnTo>
                      <a:pt x="401" y="836"/>
                    </a:lnTo>
                    <a:lnTo>
                      <a:pt x="383" y="835"/>
                    </a:lnTo>
                    <a:lnTo>
                      <a:pt x="339" y="829"/>
                    </a:lnTo>
                    <a:lnTo>
                      <a:pt x="292" y="817"/>
                    </a:lnTo>
                    <a:lnTo>
                      <a:pt x="243" y="800"/>
                    </a:lnTo>
                    <a:lnTo>
                      <a:pt x="197" y="778"/>
                    </a:lnTo>
                    <a:lnTo>
                      <a:pt x="151" y="754"/>
                    </a:lnTo>
                    <a:lnTo>
                      <a:pt x="110" y="725"/>
                    </a:lnTo>
                    <a:lnTo>
                      <a:pt x="73" y="696"/>
                    </a:lnTo>
                    <a:lnTo>
                      <a:pt x="41" y="664"/>
                    </a:lnTo>
                    <a:lnTo>
                      <a:pt x="19" y="632"/>
                    </a:lnTo>
                    <a:lnTo>
                      <a:pt x="6" y="608"/>
                    </a:lnTo>
                    <a:lnTo>
                      <a:pt x="0" y="584"/>
                    </a:lnTo>
                    <a:lnTo>
                      <a:pt x="0" y="563"/>
                    </a:lnTo>
                    <a:lnTo>
                      <a:pt x="2" y="547"/>
                    </a:lnTo>
                    <a:lnTo>
                      <a:pt x="6" y="532"/>
                    </a:lnTo>
                    <a:lnTo>
                      <a:pt x="22" y="506"/>
                    </a:lnTo>
                    <a:lnTo>
                      <a:pt x="44" y="477"/>
                    </a:lnTo>
                    <a:lnTo>
                      <a:pt x="71" y="448"/>
                    </a:lnTo>
                    <a:lnTo>
                      <a:pt x="104" y="420"/>
                    </a:lnTo>
                    <a:lnTo>
                      <a:pt x="141" y="393"/>
                    </a:lnTo>
                    <a:lnTo>
                      <a:pt x="183" y="366"/>
                    </a:lnTo>
                    <a:lnTo>
                      <a:pt x="227" y="344"/>
                    </a:lnTo>
                    <a:lnTo>
                      <a:pt x="274" y="326"/>
                    </a:lnTo>
                    <a:lnTo>
                      <a:pt x="323" y="314"/>
                    </a:lnTo>
                    <a:lnTo>
                      <a:pt x="374" y="307"/>
                    </a:lnTo>
                    <a:lnTo>
                      <a:pt x="425" y="307"/>
                    </a:lnTo>
                    <a:lnTo>
                      <a:pt x="476" y="315"/>
                    </a:lnTo>
                    <a:lnTo>
                      <a:pt x="516" y="329"/>
                    </a:lnTo>
                    <a:lnTo>
                      <a:pt x="558" y="350"/>
                    </a:lnTo>
                    <a:lnTo>
                      <a:pt x="598" y="376"/>
                    </a:lnTo>
                    <a:lnTo>
                      <a:pt x="633" y="408"/>
                    </a:lnTo>
                    <a:lnTo>
                      <a:pt x="667" y="444"/>
                    </a:lnTo>
                    <a:lnTo>
                      <a:pt x="671" y="439"/>
                    </a:lnTo>
                    <a:lnTo>
                      <a:pt x="676" y="434"/>
                    </a:lnTo>
                    <a:lnTo>
                      <a:pt x="758" y="366"/>
                    </a:lnTo>
                    <a:lnTo>
                      <a:pt x="712" y="328"/>
                    </a:lnTo>
                    <a:lnTo>
                      <a:pt x="671" y="284"/>
                    </a:lnTo>
                    <a:lnTo>
                      <a:pt x="635" y="234"/>
                    </a:lnTo>
                    <a:lnTo>
                      <a:pt x="603" y="179"/>
                    </a:lnTo>
                    <a:lnTo>
                      <a:pt x="578" y="118"/>
                    </a:lnTo>
                    <a:lnTo>
                      <a:pt x="559" y="54"/>
                    </a:lnTo>
                    <a:lnTo>
                      <a:pt x="558" y="36"/>
                    </a:lnTo>
                    <a:lnTo>
                      <a:pt x="563" y="20"/>
                    </a:lnTo>
                    <a:lnTo>
                      <a:pt x="574" y="8"/>
                    </a:lnTo>
                    <a:lnTo>
                      <a:pt x="591" y="0"/>
                    </a:lnTo>
                    <a:lnTo>
                      <a:pt x="607" y="0"/>
                    </a:lnTo>
                    <a:close/>
                  </a:path>
                </a:pathLst>
              </a:custGeom>
              <a:solidFill>
                <a:srgbClr val="595959">
                  <a:lumMod val="100000"/>
                </a:srgb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  <p:sp>
            <p:nvSpPr>
              <p:cNvPr id="59" name="Freeform 104">
                <a:extLst>
                  <a:ext uri="{FF2B5EF4-FFF2-40B4-BE49-F238E27FC236}">
                    <a16:creationId xmlns="" xmlns:a16="http://schemas.microsoft.com/office/drawing/2014/main" id="{8DDCA7A2-7643-4076-8EF9-55F3D0F00D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1956" y="3222111"/>
                <a:ext cx="991795" cy="385134"/>
              </a:xfrm>
              <a:custGeom>
                <a:avLst/>
                <a:gdLst>
                  <a:gd name="connsiteX0" fmla="*/ 507580 w 991795"/>
                  <a:gd name="connsiteY0" fmla="*/ 121621 h 385134"/>
                  <a:gd name="connsiteX1" fmla="*/ 516601 w 991795"/>
                  <a:gd name="connsiteY1" fmla="*/ 122707 h 385134"/>
                  <a:gd name="connsiteX2" fmla="*/ 524180 w 991795"/>
                  <a:gd name="connsiteY2" fmla="*/ 125241 h 385134"/>
                  <a:gd name="connsiteX3" fmla="*/ 529593 w 991795"/>
                  <a:gd name="connsiteY3" fmla="*/ 129222 h 385134"/>
                  <a:gd name="connsiteX4" fmla="*/ 533923 w 991795"/>
                  <a:gd name="connsiteY4" fmla="*/ 134652 h 385134"/>
                  <a:gd name="connsiteX5" fmla="*/ 537171 w 991795"/>
                  <a:gd name="connsiteY5" fmla="*/ 141529 h 385134"/>
                  <a:gd name="connsiteX6" fmla="*/ 538975 w 991795"/>
                  <a:gd name="connsiteY6" fmla="*/ 150217 h 385134"/>
                  <a:gd name="connsiteX7" fmla="*/ 540058 w 991795"/>
                  <a:gd name="connsiteY7" fmla="*/ 159628 h 385134"/>
                  <a:gd name="connsiteX8" fmla="*/ 540058 w 991795"/>
                  <a:gd name="connsiteY8" fmla="*/ 170125 h 385134"/>
                  <a:gd name="connsiteX9" fmla="*/ 539336 w 991795"/>
                  <a:gd name="connsiteY9" fmla="*/ 180984 h 385134"/>
                  <a:gd name="connsiteX10" fmla="*/ 538614 w 991795"/>
                  <a:gd name="connsiteY10" fmla="*/ 193653 h 385134"/>
                  <a:gd name="connsiteX11" fmla="*/ 536449 w 991795"/>
                  <a:gd name="connsiteY11" fmla="*/ 206684 h 385134"/>
                  <a:gd name="connsiteX12" fmla="*/ 535006 w 991795"/>
                  <a:gd name="connsiteY12" fmla="*/ 220077 h 385134"/>
                  <a:gd name="connsiteX13" fmla="*/ 533201 w 991795"/>
                  <a:gd name="connsiteY13" fmla="*/ 234555 h 385134"/>
                  <a:gd name="connsiteX14" fmla="*/ 531036 w 991795"/>
                  <a:gd name="connsiteY14" fmla="*/ 249034 h 385134"/>
                  <a:gd name="connsiteX15" fmla="*/ 529593 w 991795"/>
                  <a:gd name="connsiteY15" fmla="*/ 263875 h 385134"/>
                  <a:gd name="connsiteX16" fmla="*/ 528149 w 991795"/>
                  <a:gd name="connsiteY16" fmla="*/ 278715 h 385134"/>
                  <a:gd name="connsiteX17" fmla="*/ 527066 w 991795"/>
                  <a:gd name="connsiteY17" fmla="*/ 293918 h 385134"/>
                  <a:gd name="connsiteX18" fmla="*/ 526706 w 991795"/>
                  <a:gd name="connsiteY18" fmla="*/ 308759 h 385134"/>
                  <a:gd name="connsiteX19" fmla="*/ 525984 w 991795"/>
                  <a:gd name="connsiteY19" fmla="*/ 324323 h 385134"/>
                  <a:gd name="connsiteX20" fmla="*/ 524180 w 991795"/>
                  <a:gd name="connsiteY20" fmla="*/ 337716 h 385134"/>
                  <a:gd name="connsiteX21" fmla="*/ 520932 w 991795"/>
                  <a:gd name="connsiteY21" fmla="*/ 349299 h 385134"/>
                  <a:gd name="connsiteX22" fmla="*/ 516962 w 991795"/>
                  <a:gd name="connsiteY22" fmla="*/ 358710 h 385134"/>
                  <a:gd name="connsiteX23" fmla="*/ 511549 w 991795"/>
                  <a:gd name="connsiteY23" fmla="*/ 366674 h 385134"/>
                  <a:gd name="connsiteX24" fmla="*/ 505775 w 991795"/>
                  <a:gd name="connsiteY24" fmla="*/ 373189 h 385134"/>
                  <a:gd name="connsiteX25" fmla="*/ 499280 w 991795"/>
                  <a:gd name="connsiteY25" fmla="*/ 377533 h 385134"/>
                  <a:gd name="connsiteX26" fmla="*/ 491340 w 991795"/>
                  <a:gd name="connsiteY26" fmla="*/ 381152 h 385134"/>
                  <a:gd name="connsiteX27" fmla="*/ 482680 w 991795"/>
                  <a:gd name="connsiteY27" fmla="*/ 383686 h 385134"/>
                  <a:gd name="connsiteX28" fmla="*/ 474019 w 991795"/>
                  <a:gd name="connsiteY28" fmla="*/ 384772 h 385134"/>
                  <a:gd name="connsiteX29" fmla="*/ 464275 w 991795"/>
                  <a:gd name="connsiteY29" fmla="*/ 385134 h 385134"/>
                  <a:gd name="connsiteX30" fmla="*/ 453810 w 991795"/>
                  <a:gd name="connsiteY30" fmla="*/ 385134 h 385134"/>
                  <a:gd name="connsiteX31" fmla="*/ 443345 w 991795"/>
                  <a:gd name="connsiteY31" fmla="*/ 384048 h 385134"/>
                  <a:gd name="connsiteX32" fmla="*/ 432158 w 991795"/>
                  <a:gd name="connsiteY32" fmla="*/ 382962 h 385134"/>
                  <a:gd name="connsiteX33" fmla="*/ 420610 w 991795"/>
                  <a:gd name="connsiteY33" fmla="*/ 381514 h 385134"/>
                  <a:gd name="connsiteX34" fmla="*/ 409062 w 991795"/>
                  <a:gd name="connsiteY34" fmla="*/ 380067 h 385134"/>
                  <a:gd name="connsiteX35" fmla="*/ 397154 w 991795"/>
                  <a:gd name="connsiteY35" fmla="*/ 378619 h 385134"/>
                  <a:gd name="connsiteX36" fmla="*/ 383801 w 991795"/>
                  <a:gd name="connsiteY36" fmla="*/ 376085 h 385134"/>
                  <a:gd name="connsiteX37" fmla="*/ 372254 w 991795"/>
                  <a:gd name="connsiteY37" fmla="*/ 372827 h 385134"/>
                  <a:gd name="connsiteX38" fmla="*/ 362871 w 991795"/>
                  <a:gd name="connsiteY38" fmla="*/ 368122 h 385134"/>
                  <a:gd name="connsiteX39" fmla="*/ 355654 w 991795"/>
                  <a:gd name="connsiteY39" fmla="*/ 362692 h 385134"/>
                  <a:gd name="connsiteX40" fmla="*/ 349158 w 991795"/>
                  <a:gd name="connsiteY40" fmla="*/ 356539 h 385134"/>
                  <a:gd name="connsiteX41" fmla="*/ 344106 w 991795"/>
                  <a:gd name="connsiteY41" fmla="*/ 350385 h 385134"/>
                  <a:gd name="connsiteX42" fmla="*/ 340136 w 991795"/>
                  <a:gd name="connsiteY42" fmla="*/ 343146 h 385134"/>
                  <a:gd name="connsiteX43" fmla="*/ 336527 w 991795"/>
                  <a:gd name="connsiteY43" fmla="*/ 335906 h 385134"/>
                  <a:gd name="connsiteX44" fmla="*/ 333641 w 991795"/>
                  <a:gd name="connsiteY44" fmla="*/ 328305 h 385134"/>
                  <a:gd name="connsiteX45" fmla="*/ 330754 w 991795"/>
                  <a:gd name="connsiteY45" fmla="*/ 320342 h 385134"/>
                  <a:gd name="connsiteX46" fmla="*/ 327506 w 991795"/>
                  <a:gd name="connsiteY46" fmla="*/ 312740 h 385134"/>
                  <a:gd name="connsiteX47" fmla="*/ 324619 w 991795"/>
                  <a:gd name="connsiteY47" fmla="*/ 305501 h 385134"/>
                  <a:gd name="connsiteX48" fmla="*/ 320649 w 991795"/>
                  <a:gd name="connsiteY48" fmla="*/ 298262 h 385134"/>
                  <a:gd name="connsiteX49" fmla="*/ 316319 w 991795"/>
                  <a:gd name="connsiteY49" fmla="*/ 291746 h 385134"/>
                  <a:gd name="connsiteX50" fmla="*/ 311267 w 991795"/>
                  <a:gd name="connsiteY50" fmla="*/ 284507 h 385134"/>
                  <a:gd name="connsiteX51" fmla="*/ 307297 w 991795"/>
                  <a:gd name="connsiteY51" fmla="*/ 278353 h 385134"/>
                  <a:gd name="connsiteX52" fmla="*/ 304410 w 991795"/>
                  <a:gd name="connsiteY52" fmla="*/ 272562 h 385134"/>
                  <a:gd name="connsiteX53" fmla="*/ 303327 w 991795"/>
                  <a:gd name="connsiteY53" fmla="*/ 266408 h 385134"/>
                  <a:gd name="connsiteX54" fmla="*/ 302606 w 991795"/>
                  <a:gd name="connsiteY54" fmla="*/ 260255 h 385134"/>
                  <a:gd name="connsiteX55" fmla="*/ 304410 w 991795"/>
                  <a:gd name="connsiteY55" fmla="*/ 254102 h 385134"/>
                  <a:gd name="connsiteX56" fmla="*/ 306575 w 991795"/>
                  <a:gd name="connsiteY56" fmla="*/ 246862 h 385134"/>
                  <a:gd name="connsiteX57" fmla="*/ 310906 w 991795"/>
                  <a:gd name="connsiteY57" fmla="*/ 238537 h 385134"/>
                  <a:gd name="connsiteX58" fmla="*/ 315597 w 991795"/>
                  <a:gd name="connsiteY58" fmla="*/ 229488 h 385134"/>
                  <a:gd name="connsiteX59" fmla="*/ 322093 w 991795"/>
                  <a:gd name="connsiteY59" fmla="*/ 218629 h 385134"/>
                  <a:gd name="connsiteX60" fmla="*/ 330032 w 991795"/>
                  <a:gd name="connsiteY60" fmla="*/ 205960 h 385134"/>
                  <a:gd name="connsiteX61" fmla="*/ 339414 w 991795"/>
                  <a:gd name="connsiteY61" fmla="*/ 191481 h 385134"/>
                  <a:gd name="connsiteX62" fmla="*/ 341219 w 991795"/>
                  <a:gd name="connsiteY62" fmla="*/ 191119 h 385134"/>
                  <a:gd name="connsiteX63" fmla="*/ 344106 w 991795"/>
                  <a:gd name="connsiteY63" fmla="*/ 188947 h 385134"/>
                  <a:gd name="connsiteX64" fmla="*/ 349158 w 991795"/>
                  <a:gd name="connsiteY64" fmla="*/ 186052 h 385134"/>
                  <a:gd name="connsiteX65" fmla="*/ 355654 w 991795"/>
                  <a:gd name="connsiteY65" fmla="*/ 181708 h 385134"/>
                  <a:gd name="connsiteX66" fmla="*/ 363954 w 991795"/>
                  <a:gd name="connsiteY66" fmla="*/ 176640 h 385134"/>
                  <a:gd name="connsiteX67" fmla="*/ 374058 w 991795"/>
                  <a:gd name="connsiteY67" fmla="*/ 171211 h 385134"/>
                  <a:gd name="connsiteX68" fmla="*/ 384884 w 991795"/>
                  <a:gd name="connsiteY68" fmla="*/ 165057 h 385134"/>
                  <a:gd name="connsiteX69" fmla="*/ 396793 w 991795"/>
                  <a:gd name="connsiteY69" fmla="*/ 159266 h 385134"/>
                  <a:gd name="connsiteX70" fmla="*/ 409784 w 991795"/>
                  <a:gd name="connsiteY70" fmla="*/ 152750 h 385134"/>
                  <a:gd name="connsiteX71" fmla="*/ 423136 w 991795"/>
                  <a:gd name="connsiteY71" fmla="*/ 146597 h 385134"/>
                  <a:gd name="connsiteX72" fmla="*/ 437571 w 991795"/>
                  <a:gd name="connsiteY72" fmla="*/ 140805 h 385134"/>
                  <a:gd name="connsiteX73" fmla="*/ 452006 w 991795"/>
                  <a:gd name="connsiteY73" fmla="*/ 135376 h 385134"/>
                  <a:gd name="connsiteX74" fmla="*/ 466801 w 991795"/>
                  <a:gd name="connsiteY74" fmla="*/ 130308 h 385134"/>
                  <a:gd name="connsiteX75" fmla="*/ 482319 w 991795"/>
                  <a:gd name="connsiteY75" fmla="*/ 126327 h 385134"/>
                  <a:gd name="connsiteX76" fmla="*/ 497114 w 991795"/>
                  <a:gd name="connsiteY76" fmla="*/ 122707 h 385134"/>
                  <a:gd name="connsiteX77" fmla="*/ 31853 w 991795"/>
                  <a:gd name="connsiteY77" fmla="*/ 115106 h 385134"/>
                  <a:gd name="connsiteX78" fmla="*/ 222611 w 991795"/>
                  <a:gd name="connsiteY78" fmla="*/ 115106 h 385134"/>
                  <a:gd name="connsiteX79" fmla="*/ 242881 w 991795"/>
                  <a:gd name="connsiteY79" fmla="*/ 125659 h 385134"/>
                  <a:gd name="connsiteX80" fmla="*/ 243605 w 991795"/>
                  <a:gd name="connsiteY80" fmla="*/ 125659 h 385134"/>
                  <a:gd name="connsiteX81" fmla="*/ 251568 w 991795"/>
                  <a:gd name="connsiteY81" fmla="*/ 129661 h 385134"/>
                  <a:gd name="connsiteX82" fmla="*/ 259893 w 991795"/>
                  <a:gd name="connsiteY82" fmla="*/ 133664 h 385134"/>
                  <a:gd name="connsiteX83" fmla="*/ 267857 w 991795"/>
                  <a:gd name="connsiteY83" fmla="*/ 138395 h 385134"/>
                  <a:gd name="connsiteX84" fmla="*/ 263875 w 991795"/>
                  <a:gd name="connsiteY84" fmla="*/ 143853 h 385134"/>
                  <a:gd name="connsiteX85" fmla="*/ 257360 w 991795"/>
                  <a:gd name="connsiteY85" fmla="*/ 150039 h 385134"/>
                  <a:gd name="connsiteX86" fmla="*/ 249034 w 991795"/>
                  <a:gd name="connsiteY86" fmla="*/ 155861 h 385134"/>
                  <a:gd name="connsiteX87" fmla="*/ 238537 w 991795"/>
                  <a:gd name="connsiteY87" fmla="*/ 162047 h 385134"/>
                  <a:gd name="connsiteX88" fmla="*/ 221163 w 991795"/>
                  <a:gd name="connsiteY88" fmla="*/ 169325 h 385134"/>
                  <a:gd name="connsiteX89" fmla="*/ 201254 w 991795"/>
                  <a:gd name="connsiteY89" fmla="*/ 175511 h 385134"/>
                  <a:gd name="connsiteX90" fmla="*/ 180260 w 991795"/>
                  <a:gd name="connsiteY90" fmla="*/ 179877 h 385134"/>
                  <a:gd name="connsiteX91" fmla="*/ 157818 w 991795"/>
                  <a:gd name="connsiteY91" fmla="*/ 182788 h 385134"/>
                  <a:gd name="connsiteX92" fmla="*/ 134652 w 991795"/>
                  <a:gd name="connsiteY92" fmla="*/ 183880 h 385134"/>
                  <a:gd name="connsiteX93" fmla="*/ 111848 w 991795"/>
                  <a:gd name="connsiteY93" fmla="*/ 182788 h 385134"/>
                  <a:gd name="connsiteX94" fmla="*/ 89406 w 991795"/>
                  <a:gd name="connsiteY94" fmla="*/ 179877 h 385134"/>
                  <a:gd name="connsiteX95" fmla="*/ 68412 w 991795"/>
                  <a:gd name="connsiteY95" fmla="*/ 175511 h 385134"/>
                  <a:gd name="connsiteX96" fmla="*/ 48504 w 991795"/>
                  <a:gd name="connsiteY96" fmla="*/ 169325 h 385134"/>
                  <a:gd name="connsiteX97" fmla="*/ 31129 w 991795"/>
                  <a:gd name="connsiteY97" fmla="*/ 162047 h 385134"/>
                  <a:gd name="connsiteX98" fmla="*/ 19184 w 991795"/>
                  <a:gd name="connsiteY98" fmla="*/ 154769 h 385134"/>
                  <a:gd name="connsiteX99" fmla="*/ 10135 w 991795"/>
                  <a:gd name="connsiteY99" fmla="*/ 147856 h 385134"/>
                  <a:gd name="connsiteX100" fmla="*/ 3619 w 991795"/>
                  <a:gd name="connsiteY100" fmla="*/ 141306 h 385134"/>
                  <a:gd name="connsiteX101" fmla="*/ 0 w 991795"/>
                  <a:gd name="connsiteY101" fmla="*/ 135484 h 385134"/>
                  <a:gd name="connsiteX102" fmla="*/ 5429 w 991795"/>
                  <a:gd name="connsiteY102" fmla="*/ 131481 h 385134"/>
                  <a:gd name="connsiteX103" fmla="*/ 11945 w 991795"/>
                  <a:gd name="connsiteY103" fmla="*/ 127114 h 385134"/>
                  <a:gd name="connsiteX104" fmla="*/ 19184 w 991795"/>
                  <a:gd name="connsiteY104" fmla="*/ 123112 h 385134"/>
                  <a:gd name="connsiteX105" fmla="*/ 25700 w 991795"/>
                  <a:gd name="connsiteY105" fmla="*/ 119109 h 385134"/>
                  <a:gd name="connsiteX106" fmla="*/ 770994 w 991795"/>
                  <a:gd name="connsiteY106" fmla="*/ 0 h 385134"/>
                  <a:gd name="connsiteX107" fmla="*/ 790178 w 991795"/>
                  <a:gd name="connsiteY107" fmla="*/ 1448 h 385134"/>
                  <a:gd name="connsiteX108" fmla="*/ 808639 w 991795"/>
                  <a:gd name="connsiteY108" fmla="*/ 5068 h 385134"/>
                  <a:gd name="connsiteX109" fmla="*/ 827099 w 991795"/>
                  <a:gd name="connsiteY109" fmla="*/ 9411 h 385134"/>
                  <a:gd name="connsiteX110" fmla="*/ 844112 w 991795"/>
                  <a:gd name="connsiteY110" fmla="*/ 15565 h 385134"/>
                  <a:gd name="connsiteX111" fmla="*/ 860762 w 991795"/>
                  <a:gd name="connsiteY111" fmla="*/ 22442 h 385134"/>
                  <a:gd name="connsiteX112" fmla="*/ 875603 w 991795"/>
                  <a:gd name="connsiteY112" fmla="*/ 30044 h 385134"/>
                  <a:gd name="connsiteX113" fmla="*/ 890082 w 991795"/>
                  <a:gd name="connsiteY113" fmla="*/ 38369 h 385134"/>
                  <a:gd name="connsiteX114" fmla="*/ 902389 w 991795"/>
                  <a:gd name="connsiteY114" fmla="*/ 47056 h 385134"/>
                  <a:gd name="connsiteX115" fmla="*/ 914334 w 991795"/>
                  <a:gd name="connsiteY115" fmla="*/ 55381 h 385134"/>
                  <a:gd name="connsiteX116" fmla="*/ 924469 w 991795"/>
                  <a:gd name="connsiteY116" fmla="*/ 63345 h 385134"/>
                  <a:gd name="connsiteX117" fmla="*/ 932794 w 991795"/>
                  <a:gd name="connsiteY117" fmla="*/ 70946 h 385134"/>
                  <a:gd name="connsiteX118" fmla="*/ 940034 w 991795"/>
                  <a:gd name="connsiteY118" fmla="*/ 77823 h 385134"/>
                  <a:gd name="connsiteX119" fmla="*/ 945101 w 991795"/>
                  <a:gd name="connsiteY119" fmla="*/ 83253 h 385134"/>
                  <a:gd name="connsiteX120" fmla="*/ 948359 w 991795"/>
                  <a:gd name="connsiteY120" fmla="*/ 87958 h 385134"/>
                  <a:gd name="connsiteX121" fmla="*/ 949807 w 991795"/>
                  <a:gd name="connsiteY121" fmla="*/ 90492 h 385134"/>
                  <a:gd name="connsiteX122" fmla="*/ 950893 w 991795"/>
                  <a:gd name="connsiteY122" fmla="*/ 93388 h 385134"/>
                  <a:gd name="connsiteX123" fmla="*/ 952341 w 991795"/>
                  <a:gd name="connsiteY123" fmla="*/ 98818 h 385134"/>
                  <a:gd name="connsiteX124" fmla="*/ 954512 w 991795"/>
                  <a:gd name="connsiteY124" fmla="*/ 106419 h 385134"/>
                  <a:gd name="connsiteX125" fmla="*/ 957408 w 991795"/>
                  <a:gd name="connsiteY125" fmla="*/ 115830 h 385134"/>
                  <a:gd name="connsiteX126" fmla="*/ 960304 w 991795"/>
                  <a:gd name="connsiteY126" fmla="*/ 126689 h 385134"/>
                  <a:gd name="connsiteX127" fmla="*/ 963924 w 991795"/>
                  <a:gd name="connsiteY127" fmla="*/ 138634 h 385134"/>
                  <a:gd name="connsiteX128" fmla="*/ 967543 w 991795"/>
                  <a:gd name="connsiteY128" fmla="*/ 152027 h 385134"/>
                  <a:gd name="connsiteX129" fmla="*/ 971525 w 991795"/>
                  <a:gd name="connsiteY129" fmla="*/ 166144 h 385134"/>
                  <a:gd name="connsiteX130" fmla="*/ 975507 w 991795"/>
                  <a:gd name="connsiteY130" fmla="*/ 180622 h 385134"/>
                  <a:gd name="connsiteX131" fmla="*/ 978764 w 991795"/>
                  <a:gd name="connsiteY131" fmla="*/ 195101 h 385134"/>
                  <a:gd name="connsiteX132" fmla="*/ 982384 w 991795"/>
                  <a:gd name="connsiteY132" fmla="*/ 209580 h 385134"/>
                  <a:gd name="connsiteX133" fmla="*/ 985280 w 991795"/>
                  <a:gd name="connsiteY133" fmla="*/ 223335 h 385134"/>
                  <a:gd name="connsiteX134" fmla="*/ 987814 w 991795"/>
                  <a:gd name="connsiteY134" fmla="*/ 237089 h 385134"/>
                  <a:gd name="connsiteX135" fmla="*/ 989985 w 991795"/>
                  <a:gd name="connsiteY135" fmla="*/ 249396 h 385134"/>
                  <a:gd name="connsiteX136" fmla="*/ 991433 w 991795"/>
                  <a:gd name="connsiteY136" fmla="*/ 260979 h 385134"/>
                  <a:gd name="connsiteX137" fmla="*/ 991795 w 991795"/>
                  <a:gd name="connsiteY137" fmla="*/ 270391 h 385134"/>
                  <a:gd name="connsiteX138" fmla="*/ 991795 w 991795"/>
                  <a:gd name="connsiteY138" fmla="*/ 278354 h 385134"/>
                  <a:gd name="connsiteX139" fmla="*/ 990347 w 991795"/>
                  <a:gd name="connsiteY139" fmla="*/ 284507 h 385134"/>
                  <a:gd name="connsiteX140" fmla="*/ 986728 w 991795"/>
                  <a:gd name="connsiteY140" fmla="*/ 289937 h 385134"/>
                  <a:gd name="connsiteX141" fmla="*/ 981298 w 991795"/>
                  <a:gd name="connsiteY141" fmla="*/ 295728 h 385134"/>
                  <a:gd name="connsiteX142" fmla="*/ 974421 w 991795"/>
                  <a:gd name="connsiteY142" fmla="*/ 302244 h 385134"/>
                  <a:gd name="connsiteX143" fmla="*/ 965010 w 991795"/>
                  <a:gd name="connsiteY143" fmla="*/ 308759 h 385134"/>
                  <a:gd name="connsiteX144" fmla="*/ 954512 w 991795"/>
                  <a:gd name="connsiteY144" fmla="*/ 315275 h 385134"/>
                  <a:gd name="connsiteX145" fmla="*/ 942929 w 991795"/>
                  <a:gd name="connsiteY145" fmla="*/ 321428 h 385134"/>
                  <a:gd name="connsiteX146" fmla="*/ 929899 w 991795"/>
                  <a:gd name="connsiteY146" fmla="*/ 327220 h 385134"/>
                  <a:gd name="connsiteX147" fmla="*/ 916506 w 991795"/>
                  <a:gd name="connsiteY147" fmla="*/ 332649 h 385134"/>
                  <a:gd name="connsiteX148" fmla="*/ 902389 w 991795"/>
                  <a:gd name="connsiteY148" fmla="*/ 337355 h 385134"/>
                  <a:gd name="connsiteX149" fmla="*/ 888634 w 991795"/>
                  <a:gd name="connsiteY149" fmla="*/ 340612 h 385134"/>
                  <a:gd name="connsiteX150" fmla="*/ 874155 w 991795"/>
                  <a:gd name="connsiteY150" fmla="*/ 343870 h 385134"/>
                  <a:gd name="connsiteX151" fmla="*/ 860038 w 991795"/>
                  <a:gd name="connsiteY151" fmla="*/ 344594 h 385134"/>
                  <a:gd name="connsiteX152" fmla="*/ 846646 w 991795"/>
                  <a:gd name="connsiteY152" fmla="*/ 344594 h 385134"/>
                  <a:gd name="connsiteX153" fmla="*/ 833615 w 991795"/>
                  <a:gd name="connsiteY153" fmla="*/ 343146 h 385134"/>
                  <a:gd name="connsiteX154" fmla="*/ 821670 w 991795"/>
                  <a:gd name="connsiteY154" fmla="*/ 339165 h 385134"/>
                  <a:gd name="connsiteX155" fmla="*/ 811173 w 991795"/>
                  <a:gd name="connsiteY155" fmla="*/ 334097 h 385134"/>
                  <a:gd name="connsiteX156" fmla="*/ 798142 w 991795"/>
                  <a:gd name="connsiteY156" fmla="*/ 325410 h 385134"/>
                  <a:gd name="connsiteX157" fmla="*/ 784387 w 991795"/>
                  <a:gd name="connsiteY157" fmla="*/ 315637 h 385134"/>
                  <a:gd name="connsiteX158" fmla="*/ 769908 w 991795"/>
                  <a:gd name="connsiteY158" fmla="*/ 305864 h 385134"/>
                  <a:gd name="connsiteX159" fmla="*/ 754705 w 991795"/>
                  <a:gd name="connsiteY159" fmla="*/ 295366 h 385134"/>
                  <a:gd name="connsiteX160" fmla="*/ 739865 w 991795"/>
                  <a:gd name="connsiteY160" fmla="*/ 284507 h 385134"/>
                  <a:gd name="connsiteX161" fmla="*/ 725024 w 991795"/>
                  <a:gd name="connsiteY161" fmla="*/ 273286 h 385134"/>
                  <a:gd name="connsiteX162" fmla="*/ 710545 w 991795"/>
                  <a:gd name="connsiteY162" fmla="*/ 262065 h 385134"/>
                  <a:gd name="connsiteX163" fmla="*/ 697152 w 991795"/>
                  <a:gd name="connsiteY163" fmla="*/ 251568 h 385134"/>
                  <a:gd name="connsiteX164" fmla="*/ 684483 w 991795"/>
                  <a:gd name="connsiteY164" fmla="*/ 241071 h 385134"/>
                  <a:gd name="connsiteX165" fmla="*/ 672900 w 991795"/>
                  <a:gd name="connsiteY165" fmla="*/ 231660 h 385134"/>
                  <a:gd name="connsiteX166" fmla="*/ 663489 w 991795"/>
                  <a:gd name="connsiteY166" fmla="*/ 222611 h 385134"/>
                  <a:gd name="connsiteX167" fmla="*/ 655526 w 991795"/>
                  <a:gd name="connsiteY167" fmla="*/ 215009 h 385134"/>
                  <a:gd name="connsiteX168" fmla="*/ 649734 w 991795"/>
                  <a:gd name="connsiteY168" fmla="*/ 208494 h 385134"/>
                  <a:gd name="connsiteX169" fmla="*/ 645753 w 991795"/>
                  <a:gd name="connsiteY169" fmla="*/ 202702 h 385134"/>
                  <a:gd name="connsiteX170" fmla="*/ 641047 w 991795"/>
                  <a:gd name="connsiteY170" fmla="*/ 195101 h 385134"/>
                  <a:gd name="connsiteX171" fmla="*/ 636703 w 991795"/>
                  <a:gd name="connsiteY171" fmla="*/ 187138 h 385134"/>
                  <a:gd name="connsiteX172" fmla="*/ 631998 w 991795"/>
                  <a:gd name="connsiteY172" fmla="*/ 177727 h 385134"/>
                  <a:gd name="connsiteX173" fmla="*/ 628016 w 991795"/>
                  <a:gd name="connsiteY173" fmla="*/ 167592 h 385134"/>
                  <a:gd name="connsiteX174" fmla="*/ 624759 w 991795"/>
                  <a:gd name="connsiteY174" fmla="*/ 157094 h 385134"/>
                  <a:gd name="connsiteX175" fmla="*/ 621139 w 991795"/>
                  <a:gd name="connsiteY175" fmla="*/ 146235 h 385134"/>
                  <a:gd name="connsiteX176" fmla="*/ 618605 w 991795"/>
                  <a:gd name="connsiteY176" fmla="*/ 135376 h 385134"/>
                  <a:gd name="connsiteX177" fmla="*/ 617157 w 991795"/>
                  <a:gd name="connsiteY177" fmla="*/ 124879 h 385134"/>
                  <a:gd name="connsiteX178" fmla="*/ 616071 w 991795"/>
                  <a:gd name="connsiteY178" fmla="*/ 114744 h 385134"/>
                  <a:gd name="connsiteX179" fmla="*/ 616795 w 991795"/>
                  <a:gd name="connsiteY179" fmla="*/ 104609 h 385134"/>
                  <a:gd name="connsiteX180" fmla="*/ 618243 w 991795"/>
                  <a:gd name="connsiteY180" fmla="*/ 96284 h 385134"/>
                  <a:gd name="connsiteX181" fmla="*/ 621139 w 991795"/>
                  <a:gd name="connsiteY181" fmla="*/ 88682 h 385134"/>
                  <a:gd name="connsiteX182" fmla="*/ 625844 w 991795"/>
                  <a:gd name="connsiteY182" fmla="*/ 82167 h 385134"/>
                  <a:gd name="connsiteX183" fmla="*/ 631998 w 991795"/>
                  <a:gd name="connsiteY183" fmla="*/ 77823 h 385134"/>
                  <a:gd name="connsiteX184" fmla="*/ 639599 w 991795"/>
                  <a:gd name="connsiteY184" fmla="*/ 73480 h 385134"/>
                  <a:gd name="connsiteX185" fmla="*/ 648287 w 991795"/>
                  <a:gd name="connsiteY185" fmla="*/ 68774 h 385134"/>
                  <a:gd name="connsiteX186" fmla="*/ 658060 w 991795"/>
                  <a:gd name="connsiteY186" fmla="*/ 63345 h 385134"/>
                  <a:gd name="connsiteX187" fmla="*/ 668557 w 991795"/>
                  <a:gd name="connsiteY187" fmla="*/ 57553 h 385134"/>
                  <a:gd name="connsiteX188" fmla="*/ 680140 w 991795"/>
                  <a:gd name="connsiteY188" fmla="*/ 51038 h 385134"/>
                  <a:gd name="connsiteX189" fmla="*/ 691361 w 991795"/>
                  <a:gd name="connsiteY189" fmla="*/ 44522 h 385134"/>
                  <a:gd name="connsiteX190" fmla="*/ 702944 w 991795"/>
                  <a:gd name="connsiteY190" fmla="*/ 38007 h 385134"/>
                  <a:gd name="connsiteX191" fmla="*/ 714527 w 991795"/>
                  <a:gd name="connsiteY191" fmla="*/ 31491 h 385134"/>
                  <a:gd name="connsiteX192" fmla="*/ 726110 w 991795"/>
                  <a:gd name="connsiteY192" fmla="*/ 25338 h 385134"/>
                  <a:gd name="connsiteX193" fmla="*/ 736245 w 991795"/>
                  <a:gd name="connsiteY193" fmla="*/ 19546 h 385134"/>
                  <a:gd name="connsiteX194" fmla="*/ 746018 w 991795"/>
                  <a:gd name="connsiteY194" fmla="*/ 14479 h 385134"/>
                  <a:gd name="connsiteX195" fmla="*/ 753981 w 991795"/>
                  <a:gd name="connsiteY195" fmla="*/ 9411 h 385134"/>
                  <a:gd name="connsiteX196" fmla="*/ 760859 w 991795"/>
                  <a:gd name="connsiteY196" fmla="*/ 5430 h 385134"/>
                  <a:gd name="connsiteX197" fmla="*/ 766288 w 991795"/>
                  <a:gd name="connsiteY197" fmla="*/ 2534 h 385134"/>
                  <a:gd name="connsiteX198" fmla="*/ 769184 w 991795"/>
                  <a:gd name="connsiteY198" fmla="*/ 1086 h 385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</a:cxnLst>
                <a:rect l="l" t="t" r="r" b="b"/>
                <a:pathLst>
                  <a:path w="991795" h="385134">
                    <a:moveTo>
                      <a:pt x="507580" y="121621"/>
                    </a:moveTo>
                    <a:lnTo>
                      <a:pt x="516601" y="122707"/>
                    </a:lnTo>
                    <a:lnTo>
                      <a:pt x="524180" y="125241"/>
                    </a:lnTo>
                    <a:lnTo>
                      <a:pt x="529593" y="129222"/>
                    </a:lnTo>
                    <a:lnTo>
                      <a:pt x="533923" y="134652"/>
                    </a:lnTo>
                    <a:lnTo>
                      <a:pt x="537171" y="141529"/>
                    </a:lnTo>
                    <a:lnTo>
                      <a:pt x="538975" y="150217"/>
                    </a:lnTo>
                    <a:lnTo>
                      <a:pt x="540058" y="159628"/>
                    </a:lnTo>
                    <a:lnTo>
                      <a:pt x="540058" y="170125"/>
                    </a:lnTo>
                    <a:lnTo>
                      <a:pt x="539336" y="180984"/>
                    </a:lnTo>
                    <a:lnTo>
                      <a:pt x="538614" y="193653"/>
                    </a:lnTo>
                    <a:lnTo>
                      <a:pt x="536449" y="206684"/>
                    </a:lnTo>
                    <a:lnTo>
                      <a:pt x="535006" y="220077"/>
                    </a:lnTo>
                    <a:lnTo>
                      <a:pt x="533201" y="234555"/>
                    </a:lnTo>
                    <a:lnTo>
                      <a:pt x="531036" y="249034"/>
                    </a:lnTo>
                    <a:lnTo>
                      <a:pt x="529593" y="263875"/>
                    </a:lnTo>
                    <a:lnTo>
                      <a:pt x="528149" y="278715"/>
                    </a:lnTo>
                    <a:lnTo>
                      <a:pt x="527066" y="293918"/>
                    </a:lnTo>
                    <a:lnTo>
                      <a:pt x="526706" y="308759"/>
                    </a:lnTo>
                    <a:lnTo>
                      <a:pt x="525984" y="324323"/>
                    </a:lnTo>
                    <a:lnTo>
                      <a:pt x="524180" y="337716"/>
                    </a:lnTo>
                    <a:lnTo>
                      <a:pt x="520932" y="349299"/>
                    </a:lnTo>
                    <a:lnTo>
                      <a:pt x="516962" y="358710"/>
                    </a:lnTo>
                    <a:lnTo>
                      <a:pt x="511549" y="366674"/>
                    </a:lnTo>
                    <a:lnTo>
                      <a:pt x="505775" y="373189"/>
                    </a:lnTo>
                    <a:lnTo>
                      <a:pt x="499280" y="377533"/>
                    </a:lnTo>
                    <a:lnTo>
                      <a:pt x="491340" y="381152"/>
                    </a:lnTo>
                    <a:lnTo>
                      <a:pt x="482680" y="383686"/>
                    </a:lnTo>
                    <a:lnTo>
                      <a:pt x="474019" y="384772"/>
                    </a:lnTo>
                    <a:lnTo>
                      <a:pt x="464275" y="385134"/>
                    </a:lnTo>
                    <a:lnTo>
                      <a:pt x="453810" y="385134"/>
                    </a:lnTo>
                    <a:lnTo>
                      <a:pt x="443345" y="384048"/>
                    </a:lnTo>
                    <a:lnTo>
                      <a:pt x="432158" y="382962"/>
                    </a:lnTo>
                    <a:lnTo>
                      <a:pt x="420610" y="381514"/>
                    </a:lnTo>
                    <a:lnTo>
                      <a:pt x="409062" y="380067"/>
                    </a:lnTo>
                    <a:lnTo>
                      <a:pt x="397154" y="378619"/>
                    </a:lnTo>
                    <a:lnTo>
                      <a:pt x="383801" y="376085"/>
                    </a:lnTo>
                    <a:lnTo>
                      <a:pt x="372254" y="372827"/>
                    </a:lnTo>
                    <a:lnTo>
                      <a:pt x="362871" y="368122"/>
                    </a:lnTo>
                    <a:lnTo>
                      <a:pt x="355654" y="362692"/>
                    </a:lnTo>
                    <a:lnTo>
                      <a:pt x="349158" y="356539"/>
                    </a:lnTo>
                    <a:lnTo>
                      <a:pt x="344106" y="350385"/>
                    </a:lnTo>
                    <a:lnTo>
                      <a:pt x="340136" y="343146"/>
                    </a:lnTo>
                    <a:lnTo>
                      <a:pt x="336527" y="335906"/>
                    </a:lnTo>
                    <a:lnTo>
                      <a:pt x="333641" y="328305"/>
                    </a:lnTo>
                    <a:lnTo>
                      <a:pt x="330754" y="320342"/>
                    </a:lnTo>
                    <a:lnTo>
                      <a:pt x="327506" y="312740"/>
                    </a:lnTo>
                    <a:lnTo>
                      <a:pt x="324619" y="305501"/>
                    </a:lnTo>
                    <a:lnTo>
                      <a:pt x="320649" y="298262"/>
                    </a:lnTo>
                    <a:lnTo>
                      <a:pt x="316319" y="291746"/>
                    </a:lnTo>
                    <a:lnTo>
                      <a:pt x="311267" y="284507"/>
                    </a:lnTo>
                    <a:lnTo>
                      <a:pt x="307297" y="278353"/>
                    </a:lnTo>
                    <a:lnTo>
                      <a:pt x="304410" y="272562"/>
                    </a:lnTo>
                    <a:lnTo>
                      <a:pt x="303327" y="266408"/>
                    </a:lnTo>
                    <a:lnTo>
                      <a:pt x="302606" y="260255"/>
                    </a:lnTo>
                    <a:lnTo>
                      <a:pt x="304410" y="254102"/>
                    </a:lnTo>
                    <a:lnTo>
                      <a:pt x="306575" y="246862"/>
                    </a:lnTo>
                    <a:lnTo>
                      <a:pt x="310906" y="238537"/>
                    </a:lnTo>
                    <a:lnTo>
                      <a:pt x="315597" y="229488"/>
                    </a:lnTo>
                    <a:lnTo>
                      <a:pt x="322093" y="218629"/>
                    </a:lnTo>
                    <a:lnTo>
                      <a:pt x="330032" y="205960"/>
                    </a:lnTo>
                    <a:lnTo>
                      <a:pt x="339414" y="191481"/>
                    </a:lnTo>
                    <a:lnTo>
                      <a:pt x="341219" y="191119"/>
                    </a:lnTo>
                    <a:lnTo>
                      <a:pt x="344106" y="188947"/>
                    </a:lnTo>
                    <a:lnTo>
                      <a:pt x="349158" y="186052"/>
                    </a:lnTo>
                    <a:lnTo>
                      <a:pt x="355654" y="181708"/>
                    </a:lnTo>
                    <a:lnTo>
                      <a:pt x="363954" y="176640"/>
                    </a:lnTo>
                    <a:lnTo>
                      <a:pt x="374058" y="171211"/>
                    </a:lnTo>
                    <a:lnTo>
                      <a:pt x="384884" y="165057"/>
                    </a:lnTo>
                    <a:lnTo>
                      <a:pt x="396793" y="159266"/>
                    </a:lnTo>
                    <a:lnTo>
                      <a:pt x="409784" y="152750"/>
                    </a:lnTo>
                    <a:lnTo>
                      <a:pt x="423136" y="146597"/>
                    </a:lnTo>
                    <a:lnTo>
                      <a:pt x="437571" y="140805"/>
                    </a:lnTo>
                    <a:lnTo>
                      <a:pt x="452006" y="135376"/>
                    </a:lnTo>
                    <a:lnTo>
                      <a:pt x="466801" y="130308"/>
                    </a:lnTo>
                    <a:lnTo>
                      <a:pt x="482319" y="126327"/>
                    </a:lnTo>
                    <a:lnTo>
                      <a:pt x="497114" y="122707"/>
                    </a:lnTo>
                    <a:close/>
                    <a:moveTo>
                      <a:pt x="31853" y="115106"/>
                    </a:moveTo>
                    <a:lnTo>
                      <a:pt x="222611" y="115106"/>
                    </a:lnTo>
                    <a:lnTo>
                      <a:pt x="242881" y="125659"/>
                    </a:lnTo>
                    <a:lnTo>
                      <a:pt x="243605" y="125659"/>
                    </a:lnTo>
                    <a:lnTo>
                      <a:pt x="251568" y="129661"/>
                    </a:lnTo>
                    <a:lnTo>
                      <a:pt x="259893" y="133664"/>
                    </a:lnTo>
                    <a:lnTo>
                      <a:pt x="267857" y="138395"/>
                    </a:lnTo>
                    <a:lnTo>
                      <a:pt x="263875" y="143853"/>
                    </a:lnTo>
                    <a:lnTo>
                      <a:pt x="257360" y="150039"/>
                    </a:lnTo>
                    <a:lnTo>
                      <a:pt x="249034" y="155861"/>
                    </a:lnTo>
                    <a:lnTo>
                      <a:pt x="238537" y="162047"/>
                    </a:lnTo>
                    <a:lnTo>
                      <a:pt x="221163" y="169325"/>
                    </a:lnTo>
                    <a:lnTo>
                      <a:pt x="201254" y="175511"/>
                    </a:lnTo>
                    <a:lnTo>
                      <a:pt x="180260" y="179877"/>
                    </a:lnTo>
                    <a:lnTo>
                      <a:pt x="157818" y="182788"/>
                    </a:lnTo>
                    <a:lnTo>
                      <a:pt x="134652" y="183880"/>
                    </a:lnTo>
                    <a:lnTo>
                      <a:pt x="111848" y="182788"/>
                    </a:lnTo>
                    <a:lnTo>
                      <a:pt x="89406" y="179877"/>
                    </a:lnTo>
                    <a:lnTo>
                      <a:pt x="68412" y="175511"/>
                    </a:lnTo>
                    <a:lnTo>
                      <a:pt x="48504" y="169325"/>
                    </a:lnTo>
                    <a:lnTo>
                      <a:pt x="31129" y="162047"/>
                    </a:lnTo>
                    <a:lnTo>
                      <a:pt x="19184" y="154769"/>
                    </a:lnTo>
                    <a:lnTo>
                      <a:pt x="10135" y="147856"/>
                    </a:lnTo>
                    <a:lnTo>
                      <a:pt x="3619" y="141306"/>
                    </a:lnTo>
                    <a:lnTo>
                      <a:pt x="0" y="135484"/>
                    </a:lnTo>
                    <a:lnTo>
                      <a:pt x="5429" y="131481"/>
                    </a:lnTo>
                    <a:lnTo>
                      <a:pt x="11945" y="127114"/>
                    </a:lnTo>
                    <a:lnTo>
                      <a:pt x="19184" y="123112"/>
                    </a:lnTo>
                    <a:lnTo>
                      <a:pt x="25700" y="119109"/>
                    </a:lnTo>
                    <a:close/>
                    <a:moveTo>
                      <a:pt x="770994" y="0"/>
                    </a:moveTo>
                    <a:lnTo>
                      <a:pt x="790178" y="1448"/>
                    </a:lnTo>
                    <a:lnTo>
                      <a:pt x="808639" y="5068"/>
                    </a:lnTo>
                    <a:lnTo>
                      <a:pt x="827099" y="9411"/>
                    </a:lnTo>
                    <a:lnTo>
                      <a:pt x="844112" y="15565"/>
                    </a:lnTo>
                    <a:lnTo>
                      <a:pt x="860762" y="22442"/>
                    </a:lnTo>
                    <a:lnTo>
                      <a:pt x="875603" y="30044"/>
                    </a:lnTo>
                    <a:lnTo>
                      <a:pt x="890082" y="38369"/>
                    </a:lnTo>
                    <a:lnTo>
                      <a:pt x="902389" y="47056"/>
                    </a:lnTo>
                    <a:lnTo>
                      <a:pt x="914334" y="55381"/>
                    </a:lnTo>
                    <a:lnTo>
                      <a:pt x="924469" y="63345"/>
                    </a:lnTo>
                    <a:lnTo>
                      <a:pt x="932794" y="70946"/>
                    </a:lnTo>
                    <a:lnTo>
                      <a:pt x="940034" y="77823"/>
                    </a:lnTo>
                    <a:lnTo>
                      <a:pt x="945101" y="83253"/>
                    </a:lnTo>
                    <a:lnTo>
                      <a:pt x="948359" y="87958"/>
                    </a:lnTo>
                    <a:lnTo>
                      <a:pt x="949807" y="90492"/>
                    </a:lnTo>
                    <a:lnTo>
                      <a:pt x="950893" y="93388"/>
                    </a:lnTo>
                    <a:lnTo>
                      <a:pt x="952341" y="98818"/>
                    </a:lnTo>
                    <a:lnTo>
                      <a:pt x="954512" y="106419"/>
                    </a:lnTo>
                    <a:lnTo>
                      <a:pt x="957408" y="115830"/>
                    </a:lnTo>
                    <a:lnTo>
                      <a:pt x="960304" y="126689"/>
                    </a:lnTo>
                    <a:lnTo>
                      <a:pt x="963924" y="138634"/>
                    </a:lnTo>
                    <a:lnTo>
                      <a:pt x="967543" y="152027"/>
                    </a:lnTo>
                    <a:lnTo>
                      <a:pt x="971525" y="166144"/>
                    </a:lnTo>
                    <a:lnTo>
                      <a:pt x="975507" y="180622"/>
                    </a:lnTo>
                    <a:lnTo>
                      <a:pt x="978764" y="195101"/>
                    </a:lnTo>
                    <a:lnTo>
                      <a:pt x="982384" y="209580"/>
                    </a:lnTo>
                    <a:lnTo>
                      <a:pt x="985280" y="223335"/>
                    </a:lnTo>
                    <a:lnTo>
                      <a:pt x="987814" y="237089"/>
                    </a:lnTo>
                    <a:lnTo>
                      <a:pt x="989985" y="249396"/>
                    </a:lnTo>
                    <a:lnTo>
                      <a:pt x="991433" y="260979"/>
                    </a:lnTo>
                    <a:lnTo>
                      <a:pt x="991795" y="270391"/>
                    </a:lnTo>
                    <a:lnTo>
                      <a:pt x="991795" y="278354"/>
                    </a:lnTo>
                    <a:lnTo>
                      <a:pt x="990347" y="284507"/>
                    </a:lnTo>
                    <a:lnTo>
                      <a:pt x="986728" y="289937"/>
                    </a:lnTo>
                    <a:lnTo>
                      <a:pt x="981298" y="295728"/>
                    </a:lnTo>
                    <a:lnTo>
                      <a:pt x="974421" y="302244"/>
                    </a:lnTo>
                    <a:lnTo>
                      <a:pt x="965010" y="308759"/>
                    </a:lnTo>
                    <a:lnTo>
                      <a:pt x="954512" y="315275"/>
                    </a:lnTo>
                    <a:lnTo>
                      <a:pt x="942929" y="321428"/>
                    </a:lnTo>
                    <a:lnTo>
                      <a:pt x="929899" y="327220"/>
                    </a:lnTo>
                    <a:lnTo>
                      <a:pt x="916506" y="332649"/>
                    </a:lnTo>
                    <a:lnTo>
                      <a:pt x="902389" y="337355"/>
                    </a:lnTo>
                    <a:lnTo>
                      <a:pt x="888634" y="340612"/>
                    </a:lnTo>
                    <a:lnTo>
                      <a:pt x="874155" y="343870"/>
                    </a:lnTo>
                    <a:lnTo>
                      <a:pt x="860038" y="344594"/>
                    </a:lnTo>
                    <a:lnTo>
                      <a:pt x="846646" y="344594"/>
                    </a:lnTo>
                    <a:lnTo>
                      <a:pt x="833615" y="343146"/>
                    </a:lnTo>
                    <a:lnTo>
                      <a:pt x="821670" y="339165"/>
                    </a:lnTo>
                    <a:lnTo>
                      <a:pt x="811173" y="334097"/>
                    </a:lnTo>
                    <a:lnTo>
                      <a:pt x="798142" y="325410"/>
                    </a:lnTo>
                    <a:lnTo>
                      <a:pt x="784387" y="315637"/>
                    </a:lnTo>
                    <a:lnTo>
                      <a:pt x="769908" y="305864"/>
                    </a:lnTo>
                    <a:lnTo>
                      <a:pt x="754705" y="295366"/>
                    </a:lnTo>
                    <a:lnTo>
                      <a:pt x="739865" y="284507"/>
                    </a:lnTo>
                    <a:lnTo>
                      <a:pt x="725024" y="273286"/>
                    </a:lnTo>
                    <a:lnTo>
                      <a:pt x="710545" y="262065"/>
                    </a:lnTo>
                    <a:lnTo>
                      <a:pt x="697152" y="251568"/>
                    </a:lnTo>
                    <a:lnTo>
                      <a:pt x="684483" y="241071"/>
                    </a:lnTo>
                    <a:lnTo>
                      <a:pt x="672900" y="231660"/>
                    </a:lnTo>
                    <a:lnTo>
                      <a:pt x="663489" y="222611"/>
                    </a:lnTo>
                    <a:lnTo>
                      <a:pt x="655526" y="215009"/>
                    </a:lnTo>
                    <a:lnTo>
                      <a:pt x="649734" y="208494"/>
                    </a:lnTo>
                    <a:lnTo>
                      <a:pt x="645753" y="202702"/>
                    </a:lnTo>
                    <a:lnTo>
                      <a:pt x="641047" y="195101"/>
                    </a:lnTo>
                    <a:lnTo>
                      <a:pt x="636703" y="187138"/>
                    </a:lnTo>
                    <a:lnTo>
                      <a:pt x="631998" y="177727"/>
                    </a:lnTo>
                    <a:lnTo>
                      <a:pt x="628016" y="167592"/>
                    </a:lnTo>
                    <a:lnTo>
                      <a:pt x="624759" y="157094"/>
                    </a:lnTo>
                    <a:lnTo>
                      <a:pt x="621139" y="146235"/>
                    </a:lnTo>
                    <a:lnTo>
                      <a:pt x="618605" y="135376"/>
                    </a:lnTo>
                    <a:lnTo>
                      <a:pt x="617157" y="124879"/>
                    </a:lnTo>
                    <a:lnTo>
                      <a:pt x="616071" y="114744"/>
                    </a:lnTo>
                    <a:lnTo>
                      <a:pt x="616795" y="104609"/>
                    </a:lnTo>
                    <a:lnTo>
                      <a:pt x="618243" y="96284"/>
                    </a:lnTo>
                    <a:lnTo>
                      <a:pt x="621139" y="88682"/>
                    </a:lnTo>
                    <a:lnTo>
                      <a:pt x="625844" y="82167"/>
                    </a:lnTo>
                    <a:lnTo>
                      <a:pt x="631998" y="77823"/>
                    </a:lnTo>
                    <a:lnTo>
                      <a:pt x="639599" y="73480"/>
                    </a:lnTo>
                    <a:lnTo>
                      <a:pt x="648287" y="68774"/>
                    </a:lnTo>
                    <a:lnTo>
                      <a:pt x="658060" y="63345"/>
                    </a:lnTo>
                    <a:lnTo>
                      <a:pt x="668557" y="57553"/>
                    </a:lnTo>
                    <a:lnTo>
                      <a:pt x="680140" y="51038"/>
                    </a:lnTo>
                    <a:lnTo>
                      <a:pt x="691361" y="44522"/>
                    </a:lnTo>
                    <a:lnTo>
                      <a:pt x="702944" y="38007"/>
                    </a:lnTo>
                    <a:lnTo>
                      <a:pt x="714527" y="31491"/>
                    </a:lnTo>
                    <a:lnTo>
                      <a:pt x="726110" y="25338"/>
                    </a:lnTo>
                    <a:lnTo>
                      <a:pt x="736245" y="19546"/>
                    </a:lnTo>
                    <a:lnTo>
                      <a:pt x="746018" y="14479"/>
                    </a:lnTo>
                    <a:lnTo>
                      <a:pt x="753981" y="9411"/>
                    </a:lnTo>
                    <a:lnTo>
                      <a:pt x="760859" y="5430"/>
                    </a:lnTo>
                    <a:lnTo>
                      <a:pt x="766288" y="2534"/>
                    </a:lnTo>
                    <a:lnTo>
                      <a:pt x="769184" y="1086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dirty="0">
                  <a:latin typeface="PT Sans Caption" panose="020B0603020203020204" pitchFamily="34" charset="0"/>
                  <a:sym typeface="PT Sans Caption" panose="020B0603020203020204" pitchFamily="34" charset="0"/>
                </a:endParaRPr>
              </a:p>
            </p:txBody>
          </p:sp>
        </p:grpSp>
      </p:grpSp>
      <p:sp>
        <p:nvSpPr>
          <p:cNvPr id="60" name="TextBox 56">
            <a:extLst>
              <a:ext uri="{FF2B5EF4-FFF2-40B4-BE49-F238E27FC236}">
                <a16:creationId xmlns="" xmlns:a16="http://schemas.microsoft.com/office/drawing/2014/main" id="{DBC7CA97-EE2C-4BD1-AD27-6428EFA030DA}"/>
              </a:ext>
            </a:extLst>
          </p:cNvPr>
          <p:cNvSpPr txBox="1"/>
          <p:nvPr/>
        </p:nvSpPr>
        <p:spPr>
          <a:xfrm>
            <a:off x="10789284" y="2857931"/>
            <a:ext cx="1237014" cy="3385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>
              <a:defRPr sz="1200">
                <a:solidFill>
                  <a:srgbClr val="58595B"/>
                </a:solidFill>
              </a:defRPr>
            </a:lvl1pPr>
          </a:lstStyle>
          <a:p>
            <a:pPr defTabSz="1215253"/>
            <a:r>
              <a:rPr lang="ru-RU" sz="1100" dirty="0">
                <a:ea typeface="PT Sans Caption" panose="020B0604020202020204" charset="-52"/>
              </a:rPr>
              <a:t>Молочная </a:t>
            </a:r>
            <a:r>
              <a:rPr lang="ru-RU" sz="1100" dirty="0">
                <a:ea typeface="PT Sans Caption" panose="020B0604020202020204" charset="-52"/>
                <a:cs typeface="Times New Roman" pitchFamily="18" charset="0"/>
              </a:rPr>
              <a:t>продукция</a:t>
            </a:r>
          </a:p>
        </p:txBody>
      </p:sp>
      <p:sp>
        <p:nvSpPr>
          <p:cNvPr id="133" name="ee4pHeader1"/>
          <p:cNvSpPr txBox="1"/>
          <p:nvPr/>
        </p:nvSpPr>
        <p:spPr>
          <a:xfrm>
            <a:off x="594092" y="4072299"/>
            <a:ext cx="10791426" cy="246221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bg-BG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Times New Roman" pitchFamily="18" charset="0"/>
                <a:sym typeface="PT Sans Caption" panose="020B0603020203020204" pitchFamily="34" charset="0"/>
              </a:rPr>
              <a:t>Перечень товарных групп, </a:t>
            </a:r>
            <a:r>
              <a:rPr lang="bg-BG" sz="1600" b="1" dirty="0">
                <a:cs typeface="Times New Roman" pitchFamily="18" charset="0"/>
                <a:sym typeface="PT Sans Caption" panose="020B0603020203020204" pitchFamily="34" charset="0"/>
              </a:rPr>
              <a:t>подлежащих маркировке</a:t>
            </a:r>
            <a:r>
              <a:rPr kumimoji="0" lang="bg-BG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Times New Roman" pitchFamily="18" charset="0"/>
                <a:sym typeface="PT Sans Caption" panose="020B0603020203020204" pitchFamily="34" charset="0"/>
              </a:rPr>
              <a:t> согласно Распоряжению Правительства </a:t>
            </a:r>
            <a:r>
              <a:rPr kumimoji="0" lang="bg-BG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Times New Roman" pitchFamily="18" charset="0"/>
                <a:sym typeface="PT Sans Caption" panose="020B0603020203020204" pitchFamily="34" charset="0"/>
              </a:rPr>
              <a:t>РФ от 28.04.2018 №</a:t>
            </a:r>
            <a:r>
              <a:rPr kumimoji="0" lang="bg-BG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Times New Roman" pitchFamily="18" charset="0"/>
                <a:sym typeface="PT Sans Caption" panose="020B0603020203020204" pitchFamily="34" charset="0"/>
              </a:rPr>
              <a:t>792-р:</a:t>
            </a:r>
          </a:p>
        </p:txBody>
      </p:sp>
      <p:pic>
        <p:nvPicPr>
          <p:cNvPr id="134" name="Рисунок 1"/>
          <p:cNvPicPr>
            <a:picLocks noChangeAspect="1"/>
          </p:cNvPicPr>
          <p:nvPr/>
        </p:nvPicPr>
        <p:blipFill rotWithShape="1">
          <a:blip r:embed="rId8" cstate="print">
            <a:lum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7840" b="34203"/>
          <a:stretch/>
        </p:blipFill>
        <p:spPr>
          <a:xfrm>
            <a:off x="9524" y="4375670"/>
            <a:ext cx="11255391" cy="1910829"/>
          </a:xfrm>
          <a:prstGeom prst="rect">
            <a:avLst/>
          </a:prstGeom>
        </p:spPr>
      </p:pic>
      <p:sp>
        <p:nvSpPr>
          <p:cNvPr id="61" name="Прямоугольник 60"/>
          <p:cNvSpPr/>
          <p:nvPr/>
        </p:nvSpPr>
        <p:spPr>
          <a:xfrm>
            <a:off x="465453" y="6412498"/>
            <a:ext cx="859809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3">
              <a:defRPr/>
            </a:pPr>
            <a:r>
              <a:rPr lang="bg-BG" sz="1400" i="1" dirty="0" smtClean="0">
                <a:cs typeface="Times New Roman" pitchFamily="18" charset="0"/>
                <a:sym typeface="PT Sans Caption" panose="020B0603020203020204" pitchFamily="34" charset="0"/>
              </a:rPr>
              <a:t>Товарные группы, маркировка которых уже осуществляется в РФ: шубы, алкоголь</a:t>
            </a:r>
            <a:endParaRPr lang="bg-BG" sz="1400" i="1" dirty="0">
              <a:cs typeface="Times New Roman" pitchFamily="18" charset="0"/>
              <a:sym typeface="PT Sans Caption" panose="020B0603020203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972000"/>
          </a:xfrm>
          <a:solidFill>
            <a:schemeClr val="accent6">
              <a:lumMod val="60000"/>
              <a:lumOff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pPr algn="ctr"/>
            <a:r>
              <a:rPr lang="bg-BG" sz="2400" b="1" dirty="0" smtClean="0">
                <a:solidFill>
                  <a:schemeClr val="bg1"/>
                </a:solidFill>
              </a:rPr>
              <a:t>Переходный период на новые правила маркировки </a:t>
            </a:r>
            <a:r>
              <a:rPr lang="bg-BG" sz="2400" b="1" dirty="0">
                <a:solidFill>
                  <a:schemeClr val="bg1"/>
                </a:solidFill>
              </a:rPr>
              <a:t>в </a:t>
            </a:r>
            <a:r>
              <a:rPr lang="bg-BG" sz="2400" b="1" dirty="0">
                <a:solidFill>
                  <a:schemeClr val="bg1"/>
                </a:solidFill>
                <a:sym typeface="PT Sans Caption" panose="020B0603020203020204" pitchFamily="34" charset="0"/>
              </a:rPr>
              <a:t>Российской Федерации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24" name="ee4pHeader1">
            <a:extLst>
              <a:ext uri="{FF2B5EF4-FFF2-40B4-BE49-F238E27FC236}">
                <a16:creationId xmlns="" xmlns:a16="http://schemas.microsoft.com/office/drawing/2014/main" id="{06D6AD0B-EBE8-40FD-AD2E-516BB8F58E93}"/>
              </a:ext>
            </a:extLst>
          </p:cNvPr>
          <p:cNvSpPr txBox="1"/>
          <p:nvPr/>
        </p:nvSpPr>
        <p:spPr>
          <a:xfrm>
            <a:off x="257175" y="1598004"/>
            <a:ext cx="11769123" cy="276999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/>
            <a:r>
              <a:rPr lang="ru-RU" b="1" u="sng" dirty="0" smtClean="0">
                <a:cs typeface="Times New Roman" pitchFamily="18" charset="0"/>
                <a:sym typeface="PT Sans Caption" panose="020B0603020203020204" pitchFamily="34" charset="0"/>
              </a:rPr>
              <a:t>Сроки </a:t>
            </a:r>
            <a:r>
              <a:rPr lang="ru-RU" b="1" u="sng" dirty="0" smtClean="0">
                <a:cs typeface="Times New Roman" pitchFamily="18" charset="0"/>
                <a:sym typeface="PT Sans Caption" panose="020B0603020203020204" pitchFamily="34" charset="0"/>
              </a:rPr>
              <a:t>переходного периода маркировки </a:t>
            </a:r>
            <a:r>
              <a:rPr lang="ru-RU" b="1" u="sng" dirty="0" smtClean="0">
                <a:cs typeface="Times New Roman" pitchFamily="18" charset="0"/>
                <a:sym typeface="PT Sans Caption" panose="020B0603020203020204" pitchFamily="34" charset="0"/>
              </a:rPr>
              <a:t>средствами идентификации в </a:t>
            </a:r>
            <a:r>
              <a:rPr lang="ru-RU" b="1" u="sng" dirty="0">
                <a:cs typeface="Times New Roman" pitchFamily="18" charset="0"/>
                <a:sym typeface="PT Sans Caption" panose="020B0603020203020204" pitchFamily="34" charset="0"/>
              </a:rPr>
              <a:t>отношении определенных товарных групп:</a:t>
            </a:r>
          </a:p>
        </p:txBody>
      </p:sp>
      <p:sp>
        <p:nvSpPr>
          <p:cNvPr id="25" name="Rectangle 50">
            <a:extLst>
              <a:ext uri="{FF2B5EF4-FFF2-40B4-BE49-F238E27FC236}">
                <a16:creationId xmlns="" xmlns:a16="http://schemas.microsoft.com/office/drawing/2014/main" id="{6E062A42-D3CA-47A2-9802-57D9EA2C11B2}"/>
              </a:ext>
            </a:extLst>
          </p:cNvPr>
          <p:cNvSpPr/>
          <p:nvPr/>
        </p:nvSpPr>
        <p:spPr>
          <a:xfrm>
            <a:off x="463099" y="2038832"/>
            <a:ext cx="994225" cy="243301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6F42E"/>
              </a:solidFill>
            </a:endParaRPr>
          </a:p>
        </p:txBody>
      </p:sp>
      <p:sp>
        <p:nvSpPr>
          <p:cNvPr id="26" name="Rectangle 53">
            <a:extLst>
              <a:ext uri="{FF2B5EF4-FFF2-40B4-BE49-F238E27FC236}">
                <a16:creationId xmlns="" xmlns:a16="http://schemas.microsoft.com/office/drawing/2014/main" id="{B353059F-D5A3-42AD-8E00-1F07A753D380}"/>
              </a:ext>
            </a:extLst>
          </p:cNvPr>
          <p:cNvSpPr/>
          <p:nvPr/>
        </p:nvSpPr>
        <p:spPr>
          <a:xfrm>
            <a:off x="1495424" y="2038833"/>
            <a:ext cx="1590675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Rectangle 54">
            <a:extLst>
              <a:ext uri="{FF2B5EF4-FFF2-40B4-BE49-F238E27FC236}">
                <a16:creationId xmlns="" xmlns:a16="http://schemas.microsoft.com/office/drawing/2014/main" id="{6CA9623E-9ED6-4CBC-AD20-F8AA4D607CF3}"/>
              </a:ext>
            </a:extLst>
          </p:cNvPr>
          <p:cNvSpPr/>
          <p:nvPr/>
        </p:nvSpPr>
        <p:spPr>
          <a:xfrm>
            <a:off x="4419599" y="2028826"/>
            <a:ext cx="4162425" cy="2620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8" name="Rectangle 50">
            <a:extLst>
              <a:ext uri="{FF2B5EF4-FFF2-40B4-BE49-F238E27FC236}">
                <a16:creationId xmlns="" xmlns:a16="http://schemas.microsoft.com/office/drawing/2014/main" id="{26AE7A40-7848-454D-92B8-51C7A34E95DE}"/>
              </a:ext>
            </a:extLst>
          </p:cNvPr>
          <p:cNvSpPr/>
          <p:nvPr/>
        </p:nvSpPr>
        <p:spPr>
          <a:xfrm>
            <a:off x="3105150" y="2038833"/>
            <a:ext cx="1276350" cy="251179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6F42E"/>
              </a:solidFill>
            </a:endParaRPr>
          </a:p>
        </p:txBody>
      </p:sp>
      <p:sp>
        <p:nvSpPr>
          <p:cNvPr id="30" name="TextBox 63">
            <a:extLst>
              <a:ext uri="{FF2B5EF4-FFF2-40B4-BE49-F238E27FC236}">
                <a16:creationId xmlns="" xmlns:a16="http://schemas.microsoft.com/office/drawing/2014/main" id="{3B2B16FA-6D5B-4A23-95D1-735F4CEE90E8}"/>
              </a:ext>
            </a:extLst>
          </p:cNvPr>
          <p:cNvSpPr txBox="1"/>
          <p:nvPr/>
        </p:nvSpPr>
        <p:spPr>
          <a:xfrm>
            <a:off x="9540996" y="2857931"/>
            <a:ext cx="1314281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1215253">
              <a:defRPr sz="1200">
                <a:solidFill>
                  <a:srgbClr val="58595B"/>
                </a:solidFill>
              </a:defRPr>
            </a:pPr>
            <a:endParaRPr lang="ru-RU" sz="1100" dirty="0">
              <a:solidFill>
                <a:srgbClr val="58595B"/>
              </a:solidFill>
              <a:ea typeface="PT Sans Caption" panose="020B0604020202020204" charset="-52"/>
              <a:cs typeface="Times New Roman" pitchFamily="18" charset="0"/>
            </a:endParaRPr>
          </a:p>
        </p:txBody>
      </p:sp>
      <p:sp>
        <p:nvSpPr>
          <p:cNvPr id="31" name="Freeform 67">
            <a:extLst>
              <a:ext uri="{FF2B5EF4-FFF2-40B4-BE49-F238E27FC236}">
                <a16:creationId xmlns="" xmlns:a16="http://schemas.microsoft.com/office/drawing/2014/main" id="{27B3835F-6211-4CDE-AAE1-966101204D1E}"/>
              </a:ext>
            </a:extLst>
          </p:cNvPr>
          <p:cNvSpPr/>
          <p:nvPr/>
        </p:nvSpPr>
        <p:spPr>
          <a:xfrm>
            <a:off x="5314950" y="2447925"/>
            <a:ext cx="171450" cy="4000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9695"/>
                </a:moveTo>
                <a:cubicBezTo>
                  <a:pt x="0" y="4443"/>
                  <a:pt x="0" y="4443"/>
                  <a:pt x="0" y="4443"/>
                </a:cubicBezTo>
                <a:cubicBezTo>
                  <a:pt x="0" y="1988"/>
                  <a:pt x="4833" y="0"/>
                  <a:pt x="10800" y="0"/>
                </a:cubicBezTo>
                <a:cubicBezTo>
                  <a:pt x="16767" y="0"/>
                  <a:pt x="21600" y="1988"/>
                  <a:pt x="21600" y="4443"/>
                </a:cubicBezTo>
                <a:cubicBezTo>
                  <a:pt x="21600" y="9720"/>
                  <a:pt x="21600" y="9720"/>
                  <a:pt x="21600" y="9720"/>
                </a:cubicBezTo>
                <a:cubicBezTo>
                  <a:pt x="20466" y="9941"/>
                  <a:pt x="20466" y="9941"/>
                  <a:pt x="20466" y="9941"/>
                </a:cubicBezTo>
                <a:cubicBezTo>
                  <a:pt x="17901" y="10407"/>
                  <a:pt x="14499" y="10677"/>
                  <a:pt x="10860" y="10677"/>
                </a:cubicBezTo>
                <a:cubicBezTo>
                  <a:pt x="7220" y="10677"/>
                  <a:pt x="3819" y="10407"/>
                  <a:pt x="1313" y="9941"/>
                </a:cubicBezTo>
                <a:cubicBezTo>
                  <a:pt x="1253" y="9941"/>
                  <a:pt x="1193" y="9916"/>
                  <a:pt x="1134" y="9916"/>
                </a:cubicBezTo>
                <a:lnTo>
                  <a:pt x="0" y="9695"/>
                </a:lnTo>
                <a:close/>
                <a:moveTo>
                  <a:pt x="2625" y="12420"/>
                </a:moveTo>
                <a:cubicBezTo>
                  <a:pt x="2625" y="17157"/>
                  <a:pt x="2625" y="17157"/>
                  <a:pt x="2625" y="17157"/>
                </a:cubicBezTo>
                <a:cubicBezTo>
                  <a:pt x="2625" y="19023"/>
                  <a:pt x="6325" y="20520"/>
                  <a:pt x="10800" y="20520"/>
                </a:cubicBezTo>
                <a:cubicBezTo>
                  <a:pt x="15275" y="20520"/>
                  <a:pt x="18975" y="19023"/>
                  <a:pt x="18975" y="17157"/>
                </a:cubicBezTo>
                <a:cubicBezTo>
                  <a:pt x="18975" y="12420"/>
                  <a:pt x="18975" y="12420"/>
                  <a:pt x="18975" y="12420"/>
                </a:cubicBezTo>
                <a:cubicBezTo>
                  <a:pt x="16469" y="12690"/>
                  <a:pt x="13724" y="12837"/>
                  <a:pt x="10860" y="12837"/>
                </a:cubicBezTo>
                <a:cubicBezTo>
                  <a:pt x="7996" y="12837"/>
                  <a:pt x="5131" y="12690"/>
                  <a:pt x="2625" y="12420"/>
                </a:cubicBezTo>
                <a:moveTo>
                  <a:pt x="0" y="10874"/>
                </a:moveTo>
                <a:cubicBezTo>
                  <a:pt x="60" y="10898"/>
                  <a:pt x="179" y="10923"/>
                  <a:pt x="239" y="10923"/>
                </a:cubicBezTo>
                <a:cubicBezTo>
                  <a:pt x="3103" y="11463"/>
                  <a:pt x="6862" y="11757"/>
                  <a:pt x="10860" y="11757"/>
                </a:cubicBezTo>
                <a:cubicBezTo>
                  <a:pt x="14857" y="11757"/>
                  <a:pt x="18676" y="11463"/>
                  <a:pt x="21540" y="10923"/>
                </a:cubicBezTo>
                <a:cubicBezTo>
                  <a:pt x="21540" y="10923"/>
                  <a:pt x="21540" y="10923"/>
                  <a:pt x="21600" y="10923"/>
                </a:cubicBezTo>
                <a:cubicBezTo>
                  <a:pt x="21600" y="17157"/>
                  <a:pt x="21600" y="17157"/>
                  <a:pt x="21600" y="17157"/>
                </a:cubicBezTo>
                <a:cubicBezTo>
                  <a:pt x="21600" y="19612"/>
                  <a:pt x="16767" y="21600"/>
                  <a:pt x="10800" y="21600"/>
                </a:cubicBezTo>
                <a:cubicBezTo>
                  <a:pt x="4833" y="21600"/>
                  <a:pt x="0" y="19612"/>
                  <a:pt x="0" y="17157"/>
                </a:cubicBezTo>
                <a:cubicBezTo>
                  <a:pt x="0" y="10874"/>
                  <a:pt x="0" y="10874"/>
                  <a:pt x="0" y="10874"/>
                </a:cubicBezTo>
                <a:close/>
              </a:path>
            </a:pathLst>
          </a:custGeom>
          <a:solidFill>
            <a:srgbClr val="595959"/>
          </a:solidFill>
          <a:ln w="12700">
            <a:miter lim="400000"/>
          </a:ln>
        </p:spPr>
        <p:txBody>
          <a:bodyPr lIns="45481" rIns="45481"/>
          <a:lstStyle/>
          <a:p>
            <a:pPr defTabSz="1215253">
              <a:defRPr sz="2200"/>
            </a:pPr>
            <a:endParaRPr lang="ru-RU" sz="2190" dirty="0">
              <a:solidFill>
                <a:srgbClr val="212121">
                  <a:lumOff val="21764"/>
                </a:srgbClr>
              </a:solidFill>
            </a:endParaRPr>
          </a:p>
        </p:txBody>
      </p:sp>
      <p:sp>
        <p:nvSpPr>
          <p:cNvPr id="32" name="TextBox 63">
            <a:extLst>
              <a:ext uri="{FF2B5EF4-FFF2-40B4-BE49-F238E27FC236}">
                <a16:creationId xmlns="" xmlns:a16="http://schemas.microsoft.com/office/drawing/2014/main" id="{BB58694B-CDE7-427C-AB75-C6096628CA5B}"/>
              </a:ext>
            </a:extLst>
          </p:cNvPr>
          <p:cNvSpPr txBox="1"/>
          <p:nvPr/>
        </p:nvSpPr>
        <p:spPr>
          <a:xfrm>
            <a:off x="8743950" y="3038474"/>
            <a:ext cx="2705100" cy="6771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1215253">
              <a:defRPr sz="1200">
                <a:solidFill>
                  <a:srgbClr val="58595B"/>
                </a:solidFill>
              </a:defRPr>
            </a:pPr>
            <a:r>
              <a:rPr lang="ru-RU" sz="1100" dirty="0" smtClean="0">
                <a:ea typeface="PT Sans Caption" panose="020B0604020202020204" charset="-52"/>
                <a:cs typeface="Times New Roman" pitchFamily="18" charset="0"/>
              </a:rPr>
              <a:t>Табачная</a:t>
            </a:r>
            <a:r>
              <a:rPr lang="ru-RU" sz="1100" dirty="0" smtClean="0">
                <a:ea typeface="PT Sans Caption" panose="020B0604020202020204" charset="-52"/>
              </a:rPr>
              <a:t> продукция</a:t>
            </a:r>
            <a:br>
              <a:rPr lang="ru-RU" sz="1100" dirty="0" smtClean="0">
                <a:ea typeface="PT Sans Caption" panose="020B0604020202020204" charset="-52"/>
              </a:rPr>
            </a:br>
            <a:r>
              <a:rPr lang="ru-RU" sz="1100" dirty="0" smtClean="0">
                <a:ea typeface="PT Sans Caption" panose="020B0604020202020204" charset="-52"/>
              </a:rPr>
              <a:t> </a:t>
            </a:r>
            <a:r>
              <a:rPr lang="ru-RU" sz="1100" dirty="0" smtClean="0">
                <a:ea typeface="PT Sans Caption" panose="020B0604020202020204" charset="-52"/>
              </a:rPr>
              <a:t>(сигареты и папиросы)</a:t>
            </a:r>
          </a:p>
          <a:p>
            <a:pPr algn="ctr" defTabSz="1215253">
              <a:defRPr sz="1200">
                <a:solidFill>
                  <a:srgbClr val="58595B"/>
                </a:solidFill>
              </a:defRPr>
            </a:pPr>
            <a:r>
              <a:rPr lang="ru-RU" sz="1100" dirty="0" smtClean="0">
                <a:solidFill>
                  <a:srgbClr val="58595B"/>
                </a:solidFill>
                <a:ea typeface="PT Sans Caption" panose="020B0604020202020204" charset="-52"/>
                <a:cs typeface="Times New Roman" pitchFamily="18" charset="0"/>
              </a:rPr>
              <a:t>  </a:t>
            </a:r>
            <a:endParaRPr lang="ru-RU" sz="1100" dirty="0" smtClean="0">
              <a:solidFill>
                <a:srgbClr val="58595B"/>
              </a:solidFill>
              <a:ea typeface="PT Sans Caption" panose="020B0604020202020204" charset="-52"/>
              <a:cs typeface="Times New Roman" pitchFamily="18" charset="0"/>
            </a:endParaRPr>
          </a:p>
          <a:p>
            <a:pPr algn="ctr" defTabSz="1215253">
              <a:defRPr sz="1200">
                <a:solidFill>
                  <a:srgbClr val="58595B"/>
                </a:solidFill>
              </a:defRPr>
            </a:pPr>
            <a:endParaRPr lang="ru-RU" sz="1100" dirty="0">
              <a:solidFill>
                <a:srgbClr val="58595B"/>
              </a:solidFill>
              <a:ea typeface="PT Sans Caption" panose="020B0604020202020204" charset="-52"/>
            </a:endParaRPr>
          </a:p>
        </p:txBody>
      </p:sp>
      <p:sp>
        <p:nvSpPr>
          <p:cNvPr id="33" name="Rectangle 24">
            <a:extLst>
              <a:ext uri="{FF2B5EF4-FFF2-40B4-BE49-F238E27FC236}">
                <a16:creationId xmlns="" xmlns:a16="http://schemas.microsoft.com/office/drawing/2014/main" id="{D21ABB35-574C-4711-9268-7181FD8923EC}"/>
              </a:ext>
            </a:extLst>
          </p:cNvPr>
          <p:cNvSpPr/>
          <p:nvPr/>
        </p:nvSpPr>
        <p:spPr>
          <a:xfrm>
            <a:off x="733425" y="2035912"/>
            <a:ext cx="571500" cy="24622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defTabSz="1215253"/>
            <a:r>
              <a:rPr lang="ru-RU" sz="1600" dirty="0">
                <a:solidFill>
                  <a:srgbClr val="595959"/>
                </a:solidFill>
              </a:rPr>
              <a:t>2019</a:t>
            </a:r>
            <a:r>
              <a:rPr lang="ru-RU" sz="16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34" name="Rectangle 43">
            <a:extLst>
              <a:ext uri="{FF2B5EF4-FFF2-40B4-BE49-F238E27FC236}">
                <a16:creationId xmlns="" xmlns:a16="http://schemas.microsoft.com/office/drawing/2014/main" id="{0F937087-9DD8-4B36-ACA1-768BCEE68063}"/>
              </a:ext>
            </a:extLst>
          </p:cNvPr>
          <p:cNvSpPr txBox="1"/>
          <p:nvPr/>
        </p:nvSpPr>
        <p:spPr>
          <a:xfrm>
            <a:off x="1847850" y="2022931"/>
            <a:ext cx="1038224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defTabSz="1215253"/>
            <a:r>
              <a:rPr lang="ru-RU" sz="1400" dirty="0"/>
              <a:t>1 </a:t>
            </a:r>
            <a:r>
              <a:rPr lang="ru-RU" sz="1400" dirty="0" smtClean="0"/>
              <a:t>октября</a:t>
            </a:r>
            <a:endParaRPr lang="ru-RU" sz="1400" dirty="0"/>
          </a:p>
        </p:txBody>
      </p:sp>
      <p:sp>
        <p:nvSpPr>
          <p:cNvPr id="35" name="Rectangle 44">
            <a:extLst>
              <a:ext uri="{FF2B5EF4-FFF2-40B4-BE49-F238E27FC236}">
                <a16:creationId xmlns="" xmlns:a16="http://schemas.microsoft.com/office/drawing/2014/main" id="{832A9223-FB5A-44BA-8B58-6EE647EE1FA4}"/>
              </a:ext>
            </a:extLst>
          </p:cNvPr>
          <p:cNvSpPr txBox="1"/>
          <p:nvPr/>
        </p:nvSpPr>
        <p:spPr>
          <a:xfrm>
            <a:off x="5076825" y="2041980"/>
            <a:ext cx="762000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defTabSz="1215253"/>
            <a:r>
              <a:rPr lang="ru-RU" sz="1400" dirty="0"/>
              <a:t>1 </a:t>
            </a:r>
            <a:r>
              <a:rPr lang="ru-RU" sz="1400" dirty="0" smtClean="0"/>
              <a:t>января</a:t>
            </a:r>
            <a:endParaRPr lang="ru-RU" sz="1400" dirty="0"/>
          </a:p>
        </p:txBody>
      </p:sp>
      <p:sp>
        <p:nvSpPr>
          <p:cNvPr id="37" name="Rectangle 24">
            <a:extLst>
              <a:ext uri="{FF2B5EF4-FFF2-40B4-BE49-F238E27FC236}">
                <a16:creationId xmlns="" xmlns:a16="http://schemas.microsoft.com/office/drawing/2014/main" id="{C1CDE7F0-EEE8-44D2-B6E7-549EBD995DA2}"/>
              </a:ext>
            </a:extLst>
          </p:cNvPr>
          <p:cNvSpPr/>
          <p:nvPr/>
        </p:nvSpPr>
        <p:spPr>
          <a:xfrm>
            <a:off x="3543299" y="2035912"/>
            <a:ext cx="657225" cy="24622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defTabSz="1215253"/>
            <a:r>
              <a:rPr lang="ru-RU" sz="1600" dirty="0">
                <a:solidFill>
                  <a:srgbClr val="595959"/>
                </a:solidFill>
              </a:rPr>
              <a:t>2020</a:t>
            </a:r>
            <a:r>
              <a:rPr lang="ru-RU" sz="16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38" name="Straight Connector 17">
            <a:extLst>
              <a:ext uri="{FF2B5EF4-FFF2-40B4-BE49-F238E27FC236}">
                <a16:creationId xmlns="" xmlns:a16="http://schemas.microsoft.com/office/drawing/2014/main" id="{1BBC563B-9E04-4F33-9642-149B50A9BF0F}"/>
              </a:ext>
            </a:extLst>
          </p:cNvPr>
          <p:cNvSpPr/>
          <p:nvPr/>
        </p:nvSpPr>
        <p:spPr>
          <a:xfrm flipH="1">
            <a:off x="3065863" y="2274137"/>
            <a:ext cx="1" cy="1080000"/>
          </a:xfrm>
          <a:prstGeom prst="line">
            <a:avLst/>
          </a:prstGeom>
          <a:ln w="19050" cap="rnd">
            <a:solidFill>
              <a:srgbClr val="F6E700"/>
            </a:solidFill>
            <a:prstDash val="sysDot"/>
          </a:ln>
        </p:spPr>
        <p:txBody>
          <a:bodyPr lIns="45481" rIns="45481"/>
          <a:lstStyle/>
          <a:p>
            <a:pPr defTabSz="1215253"/>
            <a:endParaRPr lang="ru-RU" sz="2288" dirty="0">
              <a:solidFill>
                <a:srgbClr val="212121">
                  <a:lumOff val="21764"/>
                </a:srgbClr>
              </a:solidFill>
            </a:endParaRPr>
          </a:p>
        </p:txBody>
      </p:sp>
      <p:sp>
        <p:nvSpPr>
          <p:cNvPr id="41" name="TextBox 6">
            <a:extLst>
              <a:ext uri="{FF2B5EF4-FFF2-40B4-BE49-F238E27FC236}">
                <a16:creationId xmlns="" xmlns:a16="http://schemas.microsoft.com/office/drawing/2014/main" id="{392A4A9C-0DEF-459F-B12D-5AFE2627076F}"/>
              </a:ext>
            </a:extLst>
          </p:cNvPr>
          <p:cNvSpPr txBox="1"/>
          <p:nvPr/>
        </p:nvSpPr>
        <p:spPr>
          <a:xfrm>
            <a:off x="7096125" y="3000374"/>
            <a:ext cx="1495424" cy="3385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>
              <a:defRPr sz="1200">
                <a:solidFill>
                  <a:srgbClr val="58595B"/>
                </a:solidFill>
              </a:defRPr>
            </a:lvl1pPr>
          </a:lstStyle>
          <a:p>
            <a:pPr defTabSz="1215253"/>
            <a:r>
              <a:rPr lang="ru-RU" sz="1100" dirty="0">
                <a:ea typeface="PT Sans Caption" panose="020B0604020202020204" charset="-52"/>
              </a:rPr>
              <a:t>Обувные</a:t>
            </a:r>
          </a:p>
          <a:p>
            <a:pPr defTabSz="1215253"/>
            <a:r>
              <a:rPr lang="ru-RU" sz="1100" dirty="0">
                <a:ea typeface="PT Sans Caption" panose="020B0604020202020204" charset="-52"/>
                <a:cs typeface="Times New Roman" pitchFamily="18" charset="0"/>
              </a:rPr>
              <a:t>товары</a:t>
            </a:r>
          </a:p>
        </p:txBody>
      </p:sp>
      <p:pic>
        <p:nvPicPr>
          <p:cNvPr id="42" name="Picture 10" descr="Picture 10">
            <a:extLst>
              <a:ext uri="{FF2B5EF4-FFF2-40B4-BE49-F238E27FC236}">
                <a16:creationId xmlns="" xmlns:a16="http://schemas.microsoft.com/office/drawing/2014/main" id="{D181F9F9-1234-435F-B994-306292906E15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581900" y="2483172"/>
            <a:ext cx="457200" cy="288000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43" name="TextBox 56">
            <a:extLst>
              <a:ext uri="{FF2B5EF4-FFF2-40B4-BE49-F238E27FC236}">
                <a16:creationId xmlns="" xmlns:a16="http://schemas.microsoft.com/office/drawing/2014/main" id="{F8452D0C-EC6D-495D-8054-1682FC4451E0}"/>
              </a:ext>
            </a:extLst>
          </p:cNvPr>
          <p:cNvSpPr txBox="1"/>
          <p:nvPr/>
        </p:nvSpPr>
        <p:spPr>
          <a:xfrm>
            <a:off x="4705350" y="3000375"/>
            <a:ext cx="1600200" cy="3385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numCol="1" anchor="t">
            <a:spAutoFit/>
          </a:bodyPr>
          <a:lstStyle>
            <a:lvl1pPr algn="ctr">
              <a:defRPr sz="1200">
                <a:solidFill>
                  <a:srgbClr val="58595B"/>
                </a:solidFill>
              </a:defRPr>
            </a:lvl1pPr>
          </a:lstStyle>
          <a:p>
            <a:pPr defTabSz="1215253"/>
            <a:r>
              <a:rPr lang="ru-RU" sz="1100" dirty="0" smtClean="0">
                <a:ea typeface="PT Sans Caption" panose="020B0604020202020204" charset="-52"/>
                <a:cs typeface="Times New Roman" pitchFamily="18" charset="0"/>
              </a:rPr>
              <a:t>Все лекарственные средства</a:t>
            </a:r>
            <a:endParaRPr lang="ru-RU" sz="1100" dirty="0">
              <a:ea typeface="PT Sans Caption" panose="020B0604020202020204" charset="-52"/>
            </a:endParaRPr>
          </a:p>
        </p:txBody>
      </p:sp>
      <p:pic>
        <p:nvPicPr>
          <p:cNvPr id="44" name="Picture 8" descr="Picture 8">
            <a:extLst>
              <a:ext uri="{FF2B5EF4-FFF2-40B4-BE49-F238E27FC236}">
                <a16:creationId xmlns="" xmlns:a16="http://schemas.microsoft.com/office/drawing/2014/main" id="{35BF9BD0-1CFC-4260-BDAC-82651A74B24C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772651" y="2445072"/>
            <a:ext cx="447674" cy="396000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45" name="TextBox 8">
            <a:extLst>
              <a:ext uri="{FF2B5EF4-FFF2-40B4-BE49-F238E27FC236}">
                <a16:creationId xmlns="" xmlns:a16="http://schemas.microsoft.com/office/drawing/2014/main" id="{C0FBA32F-9DAF-476A-9B77-6F25CFD20F2B}"/>
              </a:ext>
            </a:extLst>
          </p:cNvPr>
          <p:cNvSpPr txBox="1"/>
          <p:nvPr/>
        </p:nvSpPr>
        <p:spPr>
          <a:xfrm>
            <a:off x="5846874" y="2857931"/>
            <a:ext cx="1042800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1215253">
              <a:defRPr sz="1200">
                <a:solidFill>
                  <a:srgbClr val="58595B"/>
                </a:solidFill>
              </a:defRPr>
            </a:pPr>
            <a:endParaRPr lang="ru-RU" sz="1100" dirty="0">
              <a:solidFill>
                <a:srgbClr val="58595B"/>
              </a:solidFill>
              <a:ea typeface="PT Sans Caption" panose="020B0604020202020204" charset="-52"/>
              <a:cs typeface="Times New Roman" pitchFamily="18" charset="0"/>
            </a:endParaRPr>
          </a:p>
        </p:txBody>
      </p:sp>
      <p:sp>
        <p:nvSpPr>
          <p:cNvPr id="133" name="ee4pHeader1"/>
          <p:cNvSpPr txBox="1"/>
          <p:nvPr/>
        </p:nvSpPr>
        <p:spPr>
          <a:xfrm>
            <a:off x="594092" y="3776665"/>
            <a:ext cx="10791426" cy="2462213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bg-BG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Times New Roman" pitchFamily="18" charset="0"/>
                <a:sym typeface="PT Sans Caption" panose="020B0603020203020204" pitchFamily="34" charset="0"/>
              </a:rPr>
              <a:t>Новые правила с учетом переходного периода и утверждеными Постановлениеми Правительства РФ </a:t>
            </a:r>
            <a:br>
              <a:rPr kumimoji="0" lang="bg-BG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Times New Roman" pitchFamily="18" charset="0"/>
                <a:sym typeface="PT Sans Caption" panose="020B0603020203020204" pitchFamily="34" charset="0"/>
              </a:rPr>
            </a:br>
            <a:r>
              <a:rPr kumimoji="0" lang="bg-BG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Times New Roman" pitchFamily="18" charset="0"/>
                <a:sym typeface="PT Sans Caption" panose="020B0603020203020204" pitchFamily="34" charset="0"/>
              </a:rPr>
              <a:t>от 14.12.2018 № 1557</a:t>
            </a:r>
            <a:r>
              <a:rPr kumimoji="0" lang="bg-BG" sz="16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cs typeface="Times New Roman" pitchFamily="18" charset="0"/>
                <a:sym typeface="PT Sans Caption" panose="020B0603020203020204" pitchFamily="34" charset="0"/>
              </a:rPr>
              <a:t> </a:t>
            </a:r>
            <a:r>
              <a:rPr kumimoji="0" lang="ru-RU" sz="160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cs typeface="Times New Roman" pitchFamily="18" charset="0"/>
                <a:sym typeface="PT Sans Caption" panose="020B0603020203020204" pitchFamily="34" charset="0"/>
              </a:rPr>
              <a:t>«</a:t>
            </a:r>
            <a:r>
              <a:rPr kumimoji="0" lang="bg-BG" sz="160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cs typeface="Times New Roman" pitchFamily="18" charset="0"/>
                <a:sym typeface="PT Sans Caption" panose="020B0603020203020204" pitchFamily="34" charset="0"/>
              </a:rPr>
              <a:t>Обособенностях внедрения системы мониторинга движения лекарственных препаратов для медицинского применения</a:t>
            </a:r>
            <a:r>
              <a:rPr kumimoji="0" lang="ru-RU" sz="160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cs typeface="Times New Roman" pitchFamily="18" charset="0"/>
                <a:sym typeface="PT Sans Caption" panose="020B0603020203020204" pitchFamily="34" charset="0"/>
              </a:rPr>
              <a:t>»</a:t>
            </a:r>
            <a:r>
              <a:rPr kumimoji="0" lang="bg-BG" sz="160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cs typeface="Times New Roman" pitchFamily="18" charset="0"/>
                <a:sym typeface="PT Sans Caption" panose="020B0603020203020204" pitchFamily="34" charset="0"/>
              </a:rPr>
              <a:t>;</a:t>
            </a:r>
          </a:p>
          <a:p>
            <a:pPr marL="0" lvl="3">
              <a:defRPr/>
            </a:pPr>
            <a:r>
              <a:rPr lang="bg-BG" sz="1600" b="1" dirty="0" smtClean="0">
                <a:cs typeface="Times New Roman" pitchFamily="18" charset="0"/>
                <a:sym typeface="PT Sans Caption" panose="020B0603020203020204" pitchFamily="34" charset="0"/>
              </a:rPr>
              <a:t>о</a:t>
            </a:r>
            <a:r>
              <a:rPr kumimoji="0" lang="bg-BG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Times New Roman" pitchFamily="18" charset="0"/>
                <a:sym typeface="PT Sans Caption" panose="020B0603020203020204" pitchFamily="34" charset="0"/>
              </a:rPr>
              <a:t>т 05.07.2019 № 860 </a:t>
            </a:r>
            <a:r>
              <a:rPr lang="ru-RU" sz="1600" noProof="0" dirty="0" smtClean="0">
                <a:cs typeface="Times New Roman" pitchFamily="18" charset="0"/>
                <a:sym typeface="PT Sans Caption" panose="020B0603020203020204" pitchFamily="34" charset="0"/>
              </a:rPr>
              <a:t>«</a:t>
            </a:r>
            <a:r>
              <a:rPr lang="ru-RU" sz="1600" dirty="0" smtClean="0">
                <a:cs typeface="Times New Roman" pitchFamily="18" charset="0"/>
                <a:sym typeface="PT Sans Caption" panose="020B0603020203020204" pitchFamily="34" charset="0"/>
              </a:rPr>
              <a:t>Об </a:t>
            </a:r>
            <a:r>
              <a:rPr lang="ru-RU" sz="1600" dirty="0" smtClean="0">
                <a:cs typeface="Times New Roman" pitchFamily="18" charset="0"/>
                <a:sym typeface="PT Sans Caption" panose="020B0603020203020204" pitchFamily="34" charset="0"/>
              </a:rPr>
              <a:t>утверждении Правил маркировки обувных товаров средствами идентификации и особенностях внедрения государственной информационной системы мониторинга за оборотом товаров, подлежащих обязательной маркировке средствами идентификации, в отношении обувных </a:t>
            </a:r>
            <a:r>
              <a:rPr lang="ru-RU" sz="1600" dirty="0" smtClean="0">
                <a:cs typeface="Times New Roman" pitchFamily="18" charset="0"/>
                <a:sym typeface="PT Sans Caption" panose="020B0603020203020204" pitchFamily="34" charset="0"/>
              </a:rPr>
              <a:t>товаров»;</a:t>
            </a:r>
            <a:r>
              <a:rPr lang="bg-BG" sz="1600" b="1" dirty="0" smtClean="0">
                <a:cs typeface="Times New Roman" pitchFamily="18" charset="0"/>
                <a:sym typeface="PT Sans Caption" panose="020B0603020203020204" pitchFamily="34" charset="0"/>
              </a:rPr>
              <a:t> </a:t>
            </a:r>
          </a:p>
          <a:p>
            <a:pPr marL="0" lvl="3">
              <a:defRPr/>
            </a:pPr>
            <a:r>
              <a:rPr lang="bg-BG" sz="1600" b="1" dirty="0" smtClean="0">
                <a:cs typeface="Times New Roman" pitchFamily="18" charset="0"/>
                <a:sym typeface="PT Sans Caption" panose="020B0603020203020204" pitchFamily="34" charset="0"/>
              </a:rPr>
              <a:t>от </a:t>
            </a:r>
            <a:r>
              <a:rPr lang="bg-BG" sz="1600" b="1" dirty="0" smtClean="0">
                <a:cs typeface="Times New Roman" pitchFamily="18" charset="0"/>
                <a:sym typeface="PT Sans Caption" panose="020B0603020203020204" pitchFamily="34" charset="0"/>
              </a:rPr>
              <a:t>28.02.2019 № 224 </a:t>
            </a:r>
            <a:r>
              <a:rPr lang="ru-RU" sz="1600" dirty="0" smtClean="0">
                <a:cs typeface="Times New Roman" pitchFamily="18" charset="0"/>
                <a:sym typeface="PT Sans Caption" panose="020B0603020203020204" pitchFamily="34" charset="0"/>
              </a:rPr>
              <a:t>«</a:t>
            </a:r>
            <a:r>
              <a:rPr lang="bg-BG" sz="1600" dirty="0" smtClean="0">
                <a:cs typeface="Times New Roman" pitchFamily="18" charset="0"/>
                <a:sym typeface="PT Sans Caption" panose="020B0603020203020204" pitchFamily="34" charset="0"/>
              </a:rPr>
              <a:t>Об утверждении правил маркировки табачной продукции средствами идентификации и особенностях внедрения госудорственной информационной системы мониторинга за оборотом товаров, подлежащих обязательной маркировке средствами идентификации, в отношении тобачной продукции</a:t>
            </a:r>
            <a:r>
              <a:rPr lang="ru-RU" sz="1600" dirty="0" smtClean="0">
                <a:cs typeface="Times New Roman" pitchFamily="18" charset="0"/>
                <a:sym typeface="PT Sans Caption" panose="020B0603020203020204" pitchFamily="34" charset="0"/>
              </a:rPr>
              <a:t>»</a:t>
            </a:r>
            <a:r>
              <a:rPr lang="bg-BG" sz="1600" dirty="0" smtClean="0">
                <a:cs typeface="Times New Roman" pitchFamily="18" charset="0"/>
                <a:sym typeface="PT Sans Caption" panose="020B0603020203020204" pitchFamily="34" charset="0"/>
              </a:rPr>
              <a:t>.</a:t>
            </a:r>
            <a:endParaRPr lang="ru-RU" sz="1600" dirty="0" smtClean="0">
              <a:cs typeface="Times New Roman" pitchFamily="18" charset="0"/>
              <a:sym typeface="PT Sans Caption" panose="020B0603020203020204" pitchFamily="34" charset="0"/>
            </a:endParaRPr>
          </a:p>
          <a:p>
            <a:pPr marL="0" lvl="3">
              <a:defRPr/>
            </a:pPr>
            <a:endParaRPr kumimoji="0" lang="bg-BG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Times New Roman" pitchFamily="18" charset="0"/>
              <a:sym typeface="PT Sans Caption" panose="020B0603020203020204" pitchFamily="34" charset="0"/>
            </a:endParaRPr>
          </a:p>
        </p:txBody>
      </p:sp>
      <p:sp>
        <p:nvSpPr>
          <p:cNvPr id="62" name="Freeform 67">
            <a:extLst>
              <a:ext uri="{FF2B5EF4-FFF2-40B4-BE49-F238E27FC236}">
                <a16:creationId xmlns="" xmlns:a16="http://schemas.microsoft.com/office/drawing/2014/main" id="{27B3835F-6211-4CDE-AAE1-966101204D1E}"/>
              </a:ext>
            </a:extLst>
          </p:cNvPr>
          <p:cNvSpPr/>
          <p:nvPr/>
        </p:nvSpPr>
        <p:spPr>
          <a:xfrm>
            <a:off x="2028825" y="2476501"/>
            <a:ext cx="171450" cy="4000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9695"/>
                </a:moveTo>
                <a:cubicBezTo>
                  <a:pt x="0" y="4443"/>
                  <a:pt x="0" y="4443"/>
                  <a:pt x="0" y="4443"/>
                </a:cubicBezTo>
                <a:cubicBezTo>
                  <a:pt x="0" y="1988"/>
                  <a:pt x="4833" y="0"/>
                  <a:pt x="10800" y="0"/>
                </a:cubicBezTo>
                <a:cubicBezTo>
                  <a:pt x="16767" y="0"/>
                  <a:pt x="21600" y="1988"/>
                  <a:pt x="21600" y="4443"/>
                </a:cubicBezTo>
                <a:cubicBezTo>
                  <a:pt x="21600" y="9720"/>
                  <a:pt x="21600" y="9720"/>
                  <a:pt x="21600" y="9720"/>
                </a:cubicBezTo>
                <a:cubicBezTo>
                  <a:pt x="20466" y="9941"/>
                  <a:pt x="20466" y="9941"/>
                  <a:pt x="20466" y="9941"/>
                </a:cubicBezTo>
                <a:cubicBezTo>
                  <a:pt x="17901" y="10407"/>
                  <a:pt x="14499" y="10677"/>
                  <a:pt x="10860" y="10677"/>
                </a:cubicBezTo>
                <a:cubicBezTo>
                  <a:pt x="7220" y="10677"/>
                  <a:pt x="3819" y="10407"/>
                  <a:pt x="1313" y="9941"/>
                </a:cubicBezTo>
                <a:cubicBezTo>
                  <a:pt x="1253" y="9941"/>
                  <a:pt x="1193" y="9916"/>
                  <a:pt x="1134" y="9916"/>
                </a:cubicBezTo>
                <a:lnTo>
                  <a:pt x="0" y="9695"/>
                </a:lnTo>
                <a:close/>
                <a:moveTo>
                  <a:pt x="2625" y="12420"/>
                </a:moveTo>
                <a:cubicBezTo>
                  <a:pt x="2625" y="17157"/>
                  <a:pt x="2625" y="17157"/>
                  <a:pt x="2625" y="17157"/>
                </a:cubicBezTo>
                <a:cubicBezTo>
                  <a:pt x="2625" y="19023"/>
                  <a:pt x="6325" y="20520"/>
                  <a:pt x="10800" y="20520"/>
                </a:cubicBezTo>
                <a:cubicBezTo>
                  <a:pt x="15275" y="20520"/>
                  <a:pt x="18975" y="19023"/>
                  <a:pt x="18975" y="17157"/>
                </a:cubicBezTo>
                <a:cubicBezTo>
                  <a:pt x="18975" y="12420"/>
                  <a:pt x="18975" y="12420"/>
                  <a:pt x="18975" y="12420"/>
                </a:cubicBezTo>
                <a:cubicBezTo>
                  <a:pt x="16469" y="12690"/>
                  <a:pt x="13724" y="12837"/>
                  <a:pt x="10860" y="12837"/>
                </a:cubicBezTo>
                <a:cubicBezTo>
                  <a:pt x="7996" y="12837"/>
                  <a:pt x="5131" y="12690"/>
                  <a:pt x="2625" y="12420"/>
                </a:cubicBezTo>
                <a:moveTo>
                  <a:pt x="0" y="10874"/>
                </a:moveTo>
                <a:cubicBezTo>
                  <a:pt x="60" y="10898"/>
                  <a:pt x="179" y="10923"/>
                  <a:pt x="239" y="10923"/>
                </a:cubicBezTo>
                <a:cubicBezTo>
                  <a:pt x="3103" y="11463"/>
                  <a:pt x="6862" y="11757"/>
                  <a:pt x="10860" y="11757"/>
                </a:cubicBezTo>
                <a:cubicBezTo>
                  <a:pt x="14857" y="11757"/>
                  <a:pt x="18676" y="11463"/>
                  <a:pt x="21540" y="10923"/>
                </a:cubicBezTo>
                <a:cubicBezTo>
                  <a:pt x="21540" y="10923"/>
                  <a:pt x="21540" y="10923"/>
                  <a:pt x="21600" y="10923"/>
                </a:cubicBezTo>
                <a:cubicBezTo>
                  <a:pt x="21600" y="17157"/>
                  <a:pt x="21600" y="17157"/>
                  <a:pt x="21600" y="17157"/>
                </a:cubicBezTo>
                <a:cubicBezTo>
                  <a:pt x="21600" y="19612"/>
                  <a:pt x="16767" y="21600"/>
                  <a:pt x="10800" y="21600"/>
                </a:cubicBezTo>
                <a:cubicBezTo>
                  <a:pt x="4833" y="21600"/>
                  <a:pt x="0" y="19612"/>
                  <a:pt x="0" y="17157"/>
                </a:cubicBezTo>
                <a:cubicBezTo>
                  <a:pt x="0" y="10874"/>
                  <a:pt x="0" y="10874"/>
                  <a:pt x="0" y="10874"/>
                </a:cubicBezTo>
                <a:close/>
              </a:path>
            </a:pathLst>
          </a:custGeom>
          <a:solidFill>
            <a:srgbClr val="595959"/>
          </a:solidFill>
          <a:ln w="12700">
            <a:miter lim="400000"/>
          </a:ln>
        </p:spPr>
        <p:txBody>
          <a:bodyPr lIns="45481" rIns="45481"/>
          <a:lstStyle/>
          <a:p>
            <a:pPr defTabSz="1215253">
              <a:defRPr sz="2200"/>
            </a:pPr>
            <a:endParaRPr lang="ru-RU" sz="2190" dirty="0">
              <a:solidFill>
                <a:srgbClr val="212121">
                  <a:lumOff val="21764"/>
                </a:srgbClr>
              </a:solidFill>
            </a:endParaRPr>
          </a:p>
        </p:txBody>
      </p:sp>
      <p:sp>
        <p:nvSpPr>
          <p:cNvPr id="63" name="TextBox 63">
            <a:extLst>
              <a:ext uri="{FF2B5EF4-FFF2-40B4-BE49-F238E27FC236}">
                <a16:creationId xmlns="" xmlns:a16="http://schemas.microsoft.com/office/drawing/2014/main" id="{BB58694B-CDE7-427C-AB75-C6096628CA5B}"/>
              </a:ext>
            </a:extLst>
          </p:cNvPr>
          <p:cNvSpPr txBox="1"/>
          <p:nvPr/>
        </p:nvSpPr>
        <p:spPr>
          <a:xfrm>
            <a:off x="1343025" y="3010331"/>
            <a:ext cx="1562099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1215253">
              <a:defRPr sz="1200">
                <a:solidFill>
                  <a:srgbClr val="58595B"/>
                </a:solidFill>
              </a:defRPr>
            </a:pPr>
            <a:r>
              <a:rPr lang="ru-RU" sz="1100" dirty="0">
                <a:solidFill>
                  <a:srgbClr val="58595B"/>
                </a:solidFill>
                <a:ea typeface="PT Sans Caption" panose="020B0604020202020204" charset="-52"/>
              </a:rPr>
              <a:t>Лекарства </a:t>
            </a:r>
          </a:p>
          <a:p>
            <a:pPr algn="ctr" defTabSz="1215253">
              <a:defRPr sz="1200">
                <a:solidFill>
                  <a:srgbClr val="58595B"/>
                </a:solidFill>
              </a:defRPr>
            </a:pPr>
            <a:r>
              <a:rPr lang="ru-RU" sz="1100" dirty="0">
                <a:solidFill>
                  <a:srgbClr val="58595B"/>
                </a:solidFill>
                <a:ea typeface="PT Sans Caption" panose="020B0604020202020204" charset="-52"/>
              </a:rPr>
              <a:t>категории ВЗН</a:t>
            </a:r>
          </a:p>
        </p:txBody>
      </p:sp>
      <p:sp>
        <p:nvSpPr>
          <p:cNvPr id="66" name="Rectangle 54">
            <a:extLst>
              <a:ext uri="{FF2B5EF4-FFF2-40B4-BE49-F238E27FC236}">
                <a16:creationId xmlns="" xmlns:a16="http://schemas.microsoft.com/office/drawing/2014/main" id="{6CA9623E-9ED6-4CBC-AD20-F8AA4D607CF3}"/>
              </a:ext>
            </a:extLst>
          </p:cNvPr>
          <p:cNvSpPr/>
          <p:nvPr/>
        </p:nvSpPr>
        <p:spPr>
          <a:xfrm>
            <a:off x="8553450" y="2019300"/>
            <a:ext cx="2847974" cy="2667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8" name="Rectangle 44">
            <a:extLst>
              <a:ext uri="{FF2B5EF4-FFF2-40B4-BE49-F238E27FC236}">
                <a16:creationId xmlns="" xmlns:a16="http://schemas.microsoft.com/office/drawing/2014/main" id="{832A9223-FB5A-44BA-8B58-6EE647EE1FA4}"/>
              </a:ext>
            </a:extLst>
          </p:cNvPr>
          <p:cNvSpPr txBox="1"/>
          <p:nvPr/>
        </p:nvSpPr>
        <p:spPr>
          <a:xfrm rot="10800000" flipV="1">
            <a:off x="9734549" y="2044252"/>
            <a:ext cx="1047749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defTabSz="1215253"/>
            <a:r>
              <a:rPr lang="ru-RU" sz="1400" dirty="0"/>
              <a:t>1 июля</a:t>
            </a:r>
          </a:p>
        </p:txBody>
      </p:sp>
      <p:sp>
        <p:nvSpPr>
          <p:cNvPr id="69" name="Rectangle 44">
            <a:extLst>
              <a:ext uri="{FF2B5EF4-FFF2-40B4-BE49-F238E27FC236}">
                <a16:creationId xmlns="" xmlns:a16="http://schemas.microsoft.com/office/drawing/2014/main" id="{832A9223-FB5A-44BA-8B58-6EE647EE1FA4}"/>
              </a:ext>
            </a:extLst>
          </p:cNvPr>
          <p:cNvSpPr txBox="1"/>
          <p:nvPr/>
        </p:nvSpPr>
        <p:spPr>
          <a:xfrm flipV="1">
            <a:off x="6667500" y="2041979"/>
            <a:ext cx="1628775" cy="2154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defTabSz="1215253"/>
            <a:endParaRPr lang="ru-RU" sz="1400" dirty="0"/>
          </a:p>
        </p:txBody>
      </p:sp>
      <p:sp>
        <p:nvSpPr>
          <p:cNvPr id="70" name="Rectangle 44">
            <a:extLst>
              <a:ext uri="{FF2B5EF4-FFF2-40B4-BE49-F238E27FC236}">
                <a16:creationId xmlns="" xmlns:a16="http://schemas.microsoft.com/office/drawing/2014/main" id="{832A9223-FB5A-44BA-8B58-6EE647EE1FA4}"/>
              </a:ext>
            </a:extLst>
          </p:cNvPr>
          <p:cNvSpPr txBox="1"/>
          <p:nvPr/>
        </p:nvSpPr>
        <p:spPr>
          <a:xfrm>
            <a:off x="7534274" y="2051505"/>
            <a:ext cx="714375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defTabSz="1215253"/>
            <a:r>
              <a:rPr lang="ru-RU" sz="1400" dirty="0"/>
              <a:t>1 </a:t>
            </a:r>
            <a:r>
              <a:rPr lang="ru-RU" sz="1400" dirty="0" smtClean="0"/>
              <a:t>марта</a:t>
            </a:r>
            <a:endParaRPr lang="ru-RU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971549"/>
          </a:xfrm>
          <a:solidFill>
            <a:schemeClr val="accent6">
              <a:lumMod val="60000"/>
              <a:lumOff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pPr algn="ctr"/>
            <a:r>
              <a:rPr lang="bg-BG" sz="2400" b="1" dirty="0" smtClean="0"/>
              <a:t>Применяемые средства идентификации</a:t>
            </a:r>
            <a:endParaRPr lang="ru-RU" sz="2400" b="1" dirty="0"/>
          </a:p>
        </p:txBody>
      </p:sp>
      <p:sp>
        <p:nvSpPr>
          <p:cNvPr id="3" name="Title 3">
            <a:extLst>
              <a:ext uri="{FF2B5EF4-FFF2-40B4-BE49-F238E27FC236}">
                <a16:creationId xmlns="" xmlns:a16="http://schemas.microsoft.com/office/drawing/2014/main" id="{8E27ADA5-7DC5-4839-A3FF-911588A08FB8}"/>
              </a:ext>
            </a:extLst>
          </p:cNvPr>
          <p:cNvSpPr txBox="1">
            <a:spLocks/>
          </p:cNvSpPr>
          <p:nvPr/>
        </p:nvSpPr>
        <p:spPr>
          <a:xfrm>
            <a:off x="2381270" y="1215136"/>
            <a:ext cx="7506228" cy="2492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algn="ctr"/>
            <a:r>
              <a:rPr lang="bg-BG" sz="18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Состав кода маркировки товара или потребительской упаковки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="" xmlns:a16="http://schemas.microsoft.com/office/drawing/2014/main" id="{2D2B27C1-0B15-400E-AB65-18EC18451E1A}"/>
              </a:ext>
            </a:extLst>
          </p:cNvPr>
          <p:cNvSpPr/>
          <p:nvPr/>
        </p:nvSpPr>
        <p:spPr>
          <a:xfrm>
            <a:off x="9073807" y="1764811"/>
            <a:ext cx="2444177" cy="3240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bg-BG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Times New Roman" pitchFamily="18" charset="0"/>
                <a:sym typeface="PT Sans Caption" panose="020B0603020203020204" pitchFamily="34" charset="0"/>
              </a:rPr>
              <a:t>Код проверк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70283B96-DC2C-4536-8EF9-9AD5A28F0E7D}"/>
              </a:ext>
            </a:extLst>
          </p:cNvPr>
          <p:cNvSpPr txBox="1"/>
          <p:nvPr/>
        </p:nvSpPr>
        <p:spPr>
          <a:xfrm>
            <a:off x="8816539" y="2247055"/>
            <a:ext cx="2976541" cy="58974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 xmlns="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bg-BG" sz="1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cs typeface="Times New Roman" pitchFamily="18" charset="0"/>
                <a:sym typeface="PT Sans Caption" panose="020B0603020203020204" pitchFamily="34" charset="0"/>
              </a:rPr>
              <a:t>Зашифрованный</a:t>
            </a:r>
            <a:r>
              <a:rPr kumimoji="0" lang="bg-BG" sz="1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sym typeface="PT Sans Caption" panose="020B0603020203020204" pitchFamily="34" charset="0"/>
              </a:rPr>
              <a:t> с помощью </a:t>
            </a:r>
            <a:endParaRPr kumimoji="0" lang="bg-BG" sz="1100" b="0" i="0" u="none" strike="noStrike" kern="1200" cap="none" spc="0" normalizeH="0" baseline="0" noProof="0" dirty="0" smtClean="0">
              <a:ln>
                <a:noFill/>
              </a:ln>
              <a:solidFill>
                <a:srgbClr val="595959"/>
              </a:solidFill>
              <a:effectLst/>
              <a:uLnTx/>
              <a:uFillTx/>
              <a:sym typeface="PT Sans Caption" panose="020B0603020203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bg-BG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sym typeface="PT Sans Caption" panose="020B0603020203020204" pitchFamily="34" charset="0"/>
              </a:rPr>
              <a:t>криптографических </a:t>
            </a:r>
            <a:r>
              <a:rPr kumimoji="0" lang="bg-BG" sz="1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sym typeface="PT Sans Caption" panose="020B0603020203020204" pitchFamily="34" charset="0"/>
              </a:rPr>
              <a:t>алгоритмов код, генерируется оператором системы</a:t>
            </a:r>
          </a:p>
        </p:txBody>
      </p:sp>
      <p:sp>
        <p:nvSpPr>
          <p:cNvPr id="6" name="Plus 9">
            <a:extLst>
              <a:ext uri="{FF2B5EF4-FFF2-40B4-BE49-F238E27FC236}">
                <a16:creationId xmlns="" xmlns:a16="http://schemas.microsoft.com/office/drawing/2014/main" id="{D438A3AB-3D79-4742-BA45-22D95604B03E}"/>
              </a:ext>
            </a:extLst>
          </p:cNvPr>
          <p:cNvSpPr/>
          <p:nvPr/>
        </p:nvSpPr>
        <p:spPr>
          <a:xfrm>
            <a:off x="5055735" y="1727795"/>
            <a:ext cx="396000" cy="396000"/>
          </a:xfrm>
          <a:prstGeom prst="mathPlus">
            <a:avLst/>
          </a:prstGeom>
          <a:solidFill>
            <a:schemeClr val="tx1">
              <a:lumMod val="60000"/>
              <a:lumOff val="4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bg-BG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  <a:sym typeface="PT Sans Caption" panose="020B0603020203020204" pitchFamily="34" charset="0"/>
            </a:endParaRPr>
          </a:p>
        </p:txBody>
      </p:sp>
      <p:sp>
        <p:nvSpPr>
          <p:cNvPr id="7" name="Equal 11">
            <a:extLst>
              <a:ext uri="{FF2B5EF4-FFF2-40B4-BE49-F238E27FC236}">
                <a16:creationId xmlns="" xmlns:a16="http://schemas.microsoft.com/office/drawing/2014/main" id="{0C29B1A4-5FD5-4823-B16E-CEEC9512015A}"/>
              </a:ext>
            </a:extLst>
          </p:cNvPr>
          <p:cNvSpPr/>
          <p:nvPr/>
        </p:nvSpPr>
        <p:spPr>
          <a:xfrm>
            <a:off x="1259218" y="2032938"/>
            <a:ext cx="468000" cy="329228"/>
          </a:xfrm>
          <a:prstGeom prst="mathEqual">
            <a:avLst/>
          </a:prstGeom>
          <a:solidFill>
            <a:schemeClr val="tx1">
              <a:lumMod val="60000"/>
              <a:lumOff val="4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bg-BG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PT Sans Caption" panose="020B0603020203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8C4DA751-B434-4E87-A77C-8EF624774F73}"/>
              </a:ext>
            </a:extLst>
          </p:cNvPr>
          <p:cNvSpPr/>
          <p:nvPr/>
        </p:nvSpPr>
        <p:spPr>
          <a:xfrm>
            <a:off x="1981199" y="1753926"/>
            <a:ext cx="2899761" cy="3240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bg-BG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Times New Roman" pitchFamily="18" charset="0"/>
                <a:sym typeface="PT Sans Caption" panose="020B0603020203020204" pitchFamily="34" charset="0"/>
              </a:rPr>
              <a:t>Код идентификации товара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A4483CC9-D083-442C-828B-05ADDC096D5C}"/>
              </a:ext>
            </a:extLst>
          </p:cNvPr>
          <p:cNvSpPr txBox="1"/>
          <p:nvPr/>
        </p:nvSpPr>
        <p:spPr>
          <a:xfrm>
            <a:off x="2026062" y="2682797"/>
            <a:ext cx="1045028" cy="30801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 xmlns="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cs typeface="Times New Roman" pitchFamily="18" charset="0"/>
                <a:sym typeface="PT Sans Caption" panose="020B0603020203020204" pitchFamily="34" charset="0"/>
              </a:rPr>
              <a:t>GTIN</a:t>
            </a:r>
            <a:endParaRPr kumimoji="0" lang="bg-BG" sz="11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cs typeface="Times New Roman" pitchFamily="18" charset="0"/>
              <a:sym typeface="PT Sans Caption" panose="020B0603020203020204" pitchFamily="34" charset="0"/>
            </a:endParaRPr>
          </a:p>
        </p:txBody>
      </p:sp>
      <p:sp>
        <p:nvSpPr>
          <p:cNvPr id="10" name="Rectangle 12">
            <a:extLst>
              <a:ext uri="{FF2B5EF4-FFF2-40B4-BE49-F238E27FC236}">
                <a16:creationId xmlns="" xmlns:a16="http://schemas.microsoft.com/office/drawing/2014/main" id="{22119EF9-C078-4202-8661-EC059E2BAC78}"/>
              </a:ext>
            </a:extLst>
          </p:cNvPr>
          <p:cNvSpPr/>
          <p:nvPr/>
        </p:nvSpPr>
        <p:spPr>
          <a:xfrm>
            <a:off x="1974112" y="2300523"/>
            <a:ext cx="1198648" cy="32400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bg-BG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PT Sans Caption" panose="020B0603020203020204" pitchFamily="34" charset="0"/>
              </a:rPr>
              <a:t>Код </a:t>
            </a:r>
            <a:r>
              <a:rPr kumimoji="0" lang="bg-BG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Times New Roman" pitchFamily="18" charset="0"/>
                <a:sym typeface="PT Sans Caption" panose="020B0603020203020204" pitchFamily="34" charset="0"/>
              </a:rPr>
              <a:t>товара</a:t>
            </a:r>
          </a:p>
        </p:txBody>
      </p:sp>
      <p:sp>
        <p:nvSpPr>
          <p:cNvPr id="11" name="Rectangle 13">
            <a:extLst>
              <a:ext uri="{FF2B5EF4-FFF2-40B4-BE49-F238E27FC236}">
                <a16:creationId xmlns="" xmlns:a16="http://schemas.microsoft.com/office/drawing/2014/main" id="{85C8D7C2-CD21-4D4B-ADEE-F409C9DF163D}"/>
              </a:ext>
            </a:extLst>
          </p:cNvPr>
          <p:cNvSpPr/>
          <p:nvPr/>
        </p:nvSpPr>
        <p:spPr>
          <a:xfrm>
            <a:off x="3526242" y="2300523"/>
            <a:ext cx="1372329" cy="32400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bg-BG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PT Sans Caption" panose="020B0603020203020204" pitchFamily="34" charset="0"/>
              </a:rPr>
              <a:t>Код </a:t>
            </a:r>
            <a:r>
              <a:rPr kumimoji="0" lang="bg-BG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Times New Roman" pitchFamily="18" charset="0"/>
                <a:sym typeface="PT Sans Caption" panose="020B0603020203020204" pitchFamily="34" charset="0"/>
              </a:rPr>
              <a:t>экземпляра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83814FA8-F0FB-417B-9E43-50D8990F663E}"/>
              </a:ext>
            </a:extLst>
          </p:cNvPr>
          <p:cNvSpPr txBox="1"/>
          <p:nvPr/>
        </p:nvSpPr>
        <p:spPr>
          <a:xfrm>
            <a:off x="3230702" y="2676344"/>
            <a:ext cx="1940884" cy="39041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 xmlns="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bg-BG" sz="1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cs typeface="Times New Roman" pitchFamily="18" charset="0"/>
                <a:sym typeface="PT Sans Caption" panose="020B0603020203020204" pitchFamily="34" charset="0"/>
              </a:rPr>
              <a:t>Уникальный</a:t>
            </a:r>
            <a:r>
              <a:rPr kumimoji="0" lang="bg-BG" sz="1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sym typeface="PT Sans Caption" panose="020B0603020203020204" pitchFamily="34" charset="0"/>
              </a:rPr>
              <a:t> код экземпляра товара</a:t>
            </a:r>
          </a:p>
        </p:txBody>
      </p:sp>
      <p:cxnSp>
        <p:nvCxnSpPr>
          <p:cNvPr id="13" name="Elbow Connector 15">
            <a:extLst>
              <a:ext uri="{FF2B5EF4-FFF2-40B4-BE49-F238E27FC236}">
                <a16:creationId xmlns="" xmlns:a16="http://schemas.microsoft.com/office/drawing/2014/main" id="{835D0AE0-1E37-4928-AC57-7EA1DEFE33BD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2847416" y="1771289"/>
            <a:ext cx="222597" cy="835872"/>
          </a:xfrm>
          <a:prstGeom prst="bentConnector3">
            <a:avLst>
              <a:gd name="adj1" fmla="val 50000"/>
            </a:avLst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Elbow Connector 17">
            <a:extLst>
              <a:ext uri="{FF2B5EF4-FFF2-40B4-BE49-F238E27FC236}">
                <a16:creationId xmlns="" xmlns:a16="http://schemas.microsoft.com/office/drawing/2014/main" id="{110ECABE-DA03-4367-A8EB-EAD45B813FF6}"/>
              </a:ext>
            </a:extLst>
          </p:cNvPr>
          <p:cNvCxnSpPr>
            <a:cxnSpLocks/>
          </p:cNvCxnSpPr>
          <p:nvPr/>
        </p:nvCxnSpPr>
        <p:spPr>
          <a:xfrm rot="16200000" flipH="1">
            <a:off x="3706044" y="1748531"/>
            <a:ext cx="222597" cy="881385"/>
          </a:xfrm>
          <a:prstGeom prst="bentConnector3">
            <a:avLst>
              <a:gd name="adj1" fmla="val 50000"/>
            </a:avLst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lus 18">
            <a:extLst>
              <a:ext uri="{FF2B5EF4-FFF2-40B4-BE49-F238E27FC236}">
                <a16:creationId xmlns="" xmlns:a16="http://schemas.microsoft.com/office/drawing/2014/main" id="{4283A747-F77D-4989-B92F-F657318C3FEB}"/>
              </a:ext>
            </a:extLst>
          </p:cNvPr>
          <p:cNvSpPr/>
          <p:nvPr/>
        </p:nvSpPr>
        <p:spPr>
          <a:xfrm>
            <a:off x="3246767" y="2354523"/>
            <a:ext cx="216000" cy="216000"/>
          </a:xfrm>
          <a:prstGeom prst="mathPlus">
            <a:avLst/>
          </a:prstGeom>
          <a:solidFill>
            <a:schemeClr val="tx1">
              <a:lumMod val="60000"/>
              <a:lumOff val="4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bg-BG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PT Sans Caption" panose="020B0603020203020204" pitchFamily="34" charset="0"/>
            </a:endParaRPr>
          </a:p>
        </p:txBody>
      </p:sp>
      <p:sp>
        <p:nvSpPr>
          <p:cNvPr id="16" name="Plus 9">
            <a:extLst>
              <a:ext uri="{FF2B5EF4-FFF2-40B4-BE49-F238E27FC236}">
                <a16:creationId xmlns="" xmlns:a16="http://schemas.microsoft.com/office/drawing/2014/main" id="{815838D0-DF9C-4164-999B-8B4588595F1E}"/>
              </a:ext>
            </a:extLst>
          </p:cNvPr>
          <p:cNvSpPr/>
          <p:nvPr/>
        </p:nvSpPr>
        <p:spPr>
          <a:xfrm>
            <a:off x="8559516" y="1738680"/>
            <a:ext cx="396000" cy="396000"/>
          </a:xfrm>
          <a:prstGeom prst="mathPlus">
            <a:avLst/>
          </a:prstGeom>
          <a:solidFill>
            <a:schemeClr val="tx1">
              <a:lumMod val="60000"/>
              <a:lumOff val="4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bg-BG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PT Sans Caption" panose="020B0603020203020204" pitchFamily="34" charset="0"/>
            </a:endParaRPr>
          </a:p>
        </p:txBody>
      </p:sp>
      <p:sp>
        <p:nvSpPr>
          <p:cNvPr id="17" name="Rectangle 5">
            <a:extLst>
              <a:ext uri="{FF2B5EF4-FFF2-40B4-BE49-F238E27FC236}">
                <a16:creationId xmlns="" xmlns:a16="http://schemas.microsoft.com/office/drawing/2014/main" id="{3E3F3CD6-2D41-4156-9992-F2C17B5C14EC}"/>
              </a:ext>
            </a:extLst>
          </p:cNvPr>
          <p:cNvSpPr/>
          <p:nvPr/>
        </p:nvSpPr>
        <p:spPr>
          <a:xfrm>
            <a:off x="5606143" y="1764811"/>
            <a:ext cx="2819400" cy="3240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bg-BG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Times New Roman" pitchFamily="18" charset="0"/>
                <a:sym typeface="PT Sans Caption" panose="020B0603020203020204" pitchFamily="34" charset="0"/>
              </a:rPr>
              <a:t>Доп</a:t>
            </a:r>
            <a:r>
              <a:rPr kumimoji="0" lang="bg-BG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sym typeface="PT Sans Caption" panose="020B0603020203020204" pitchFamily="34" charset="0"/>
              </a:rPr>
              <a:t>. </a:t>
            </a:r>
            <a:r>
              <a:rPr kumimoji="0" lang="bg-BG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Times New Roman" pitchFamily="18" charset="0"/>
                <a:sym typeface="PT Sans Caption" panose="020B0603020203020204" pitchFamily="34" charset="0"/>
              </a:rPr>
              <a:t>информация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3588E37E-EC9B-4263-9D25-0A0FBAD0AA0A}"/>
              </a:ext>
            </a:extLst>
          </p:cNvPr>
          <p:cNvSpPr txBox="1"/>
          <p:nvPr/>
        </p:nvSpPr>
        <p:spPr>
          <a:xfrm>
            <a:off x="5617029" y="2163470"/>
            <a:ext cx="2786742" cy="43821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 xmlns="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bg-BG" sz="1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cs typeface="Times New Roman" pitchFamily="18" charset="0"/>
                <a:sym typeface="PT Sans Caption" panose="020B0603020203020204" pitchFamily="34" charset="0"/>
              </a:rPr>
              <a:t>Состав</a:t>
            </a:r>
            <a:r>
              <a:rPr kumimoji="0" lang="bg-BG" sz="1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sym typeface="PT Sans Caption" panose="020B0603020203020204" pitchFamily="34" charset="0"/>
              </a:rPr>
              <a:t> данных определяется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bg-BG" sz="1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sym typeface="PT Sans Caption" panose="020B0603020203020204" pitchFamily="34" charset="0"/>
              </a:rPr>
              <a:t>для каждой товарной группы:</a:t>
            </a:r>
          </a:p>
        </p:txBody>
      </p:sp>
      <p:graphicFrame>
        <p:nvGraphicFramePr>
          <p:cNvPr id="19" name="Таблица 18">
            <a:extLst>
              <a:ext uri="{FF2B5EF4-FFF2-40B4-BE49-F238E27FC236}">
                <a16:creationId xmlns="" xmlns:a16="http://schemas.microsoft.com/office/drawing/2014/main" id="{DAA6FB64-1FCC-4C84-9727-2F3596E62B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891074257"/>
              </p:ext>
            </p:extLst>
          </p:nvPr>
        </p:nvGraphicFramePr>
        <p:xfrm>
          <a:off x="5573334" y="2422694"/>
          <a:ext cx="3418267" cy="6267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15388">
                  <a:extLst>
                    <a:ext uri="{9D8B030D-6E8A-4147-A177-3AD203B41FA5}">
                      <a16:colId xmlns="" xmlns:a16="http://schemas.microsoft.com/office/drawing/2014/main" val="3527989259"/>
                    </a:ext>
                  </a:extLst>
                </a:gridCol>
                <a:gridCol w="114921">
                  <a:extLst>
                    <a:ext uri="{9D8B030D-6E8A-4147-A177-3AD203B41FA5}">
                      <a16:colId xmlns="" xmlns:a16="http://schemas.microsoft.com/office/drawing/2014/main" val="943746820"/>
                    </a:ext>
                  </a:extLst>
                </a:gridCol>
                <a:gridCol w="1787958">
                  <a:extLst>
                    <a:ext uri="{9D8B030D-6E8A-4147-A177-3AD203B41FA5}">
                      <a16:colId xmlns="" xmlns:a16="http://schemas.microsoft.com/office/drawing/2014/main" val="2230310807"/>
                    </a:ext>
                  </a:extLst>
                </a:gridCol>
              </a:tblGrid>
              <a:tr h="3521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dirty="0">
                          <a:solidFill>
                            <a:srgbClr val="595959">
                              <a:lumMod val="100000"/>
                            </a:srgbClr>
                          </a:solidFill>
                          <a:latin typeface="+mn-lt"/>
                          <a:cs typeface="Times New Roman" pitchFamily="18" charset="0"/>
                        </a:rPr>
                        <a:t>Табачные изделия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latin typeface="+mn-lt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solidFill>
                            <a:schemeClr val="tx1"/>
                          </a:solidFill>
                          <a:latin typeface="+mn-lt"/>
                          <a:cs typeface="Times New Roman" pitchFamily="18" charset="0"/>
                        </a:rPr>
                        <a:t>максимальная </a:t>
                      </a:r>
                      <a:r>
                        <a:rPr lang="ru-RU" sz="1050" dirty="0">
                          <a:solidFill>
                            <a:schemeClr val="tx1"/>
                          </a:solidFill>
                          <a:latin typeface="+mn-lt"/>
                          <a:cs typeface="Times New Roman" pitchFamily="18" charset="0"/>
                        </a:rPr>
                        <a:t>розничная цена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850847809"/>
                  </a:ext>
                </a:extLst>
              </a:tr>
              <a:tr h="2346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dirty="0">
                          <a:solidFill>
                            <a:srgbClr val="595959">
                              <a:lumMod val="100000"/>
                            </a:srgbClr>
                          </a:solidFill>
                          <a:latin typeface="+mn-lt"/>
                          <a:cs typeface="Times New Roman" pitchFamily="18" charset="0"/>
                        </a:rPr>
                        <a:t>Молочная продукция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latin typeface="+mn-lt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solidFill>
                            <a:schemeClr val="tx1"/>
                          </a:solidFill>
                          <a:latin typeface="+mn-lt"/>
                          <a:cs typeface="Times New Roman" pitchFamily="18" charset="0"/>
                        </a:rPr>
                        <a:t>срок </a:t>
                      </a:r>
                      <a:r>
                        <a:rPr lang="ru-RU" sz="1050" dirty="0">
                          <a:solidFill>
                            <a:schemeClr val="tx1"/>
                          </a:solidFill>
                          <a:latin typeface="+mn-lt"/>
                          <a:cs typeface="Times New Roman" pitchFamily="18" charset="0"/>
                        </a:rPr>
                        <a:t>годности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444341183"/>
                  </a:ext>
                </a:extLst>
              </a:tr>
            </a:tbl>
          </a:graphicData>
        </a:graphic>
      </p:graphicFrame>
      <p:sp>
        <p:nvSpPr>
          <p:cNvPr id="20" name="Title 3">
            <a:extLst>
              <a:ext uri="{FF2B5EF4-FFF2-40B4-BE49-F238E27FC236}">
                <a16:creationId xmlns="" xmlns:a16="http://schemas.microsoft.com/office/drawing/2014/main" id="{D3229FAE-C4AF-4AC4-AC2D-27DC175A5BA3}"/>
              </a:ext>
            </a:extLst>
          </p:cNvPr>
          <p:cNvSpPr txBox="1">
            <a:spLocks/>
          </p:cNvSpPr>
          <p:nvPr/>
        </p:nvSpPr>
        <p:spPr>
          <a:xfrm>
            <a:off x="4227849" y="3364438"/>
            <a:ext cx="3592176" cy="2492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r>
              <a:rPr lang="bg-BG" sz="1800" b="1" dirty="0">
                <a:solidFill>
                  <a:schemeClr val="tx1"/>
                </a:solidFill>
                <a:latin typeface="+mn-lt"/>
                <a:cs typeface="Times New Roman" pitchFamily="18" charset="0"/>
              </a:rPr>
              <a:t>Примеры средств идентификации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="" xmlns:a16="http://schemas.microsoft.com/office/drawing/2014/main" id="{7B126EAC-079B-47A6-890D-5CD49FDBE516}"/>
              </a:ext>
            </a:extLst>
          </p:cNvPr>
          <p:cNvSpPr/>
          <p:nvPr/>
        </p:nvSpPr>
        <p:spPr>
          <a:xfrm>
            <a:off x="1327030" y="3989843"/>
            <a:ext cx="183434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3" algn="ctr"/>
            <a:r>
              <a:rPr lang="ru-RU" sz="1600" b="1" dirty="0">
                <a:solidFill>
                  <a:srgbClr val="595959">
                    <a:lumMod val="100000"/>
                  </a:srgbClr>
                </a:solidFill>
              </a:rPr>
              <a:t>Табачные изделия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B4D289A2-4644-47B7-8E38-08645082C60A}"/>
              </a:ext>
            </a:extLst>
          </p:cNvPr>
          <p:cNvSpPr/>
          <p:nvPr/>
        </p:nvSpPr>
        <p:spPr>
          <a:xfrm>
            <a:off x="5222467" y="3942218"/>
            <a:ext cx="168443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3" algn="ctr"/>
            <a:r>
              <a:rPr lang="ru-RU" sz="1600" b="1" dirty="0">
                <a:solidFill>
                  <a:srgbClr val="595959">
                    <a:lumMod val="100000"/>
                  </a:srgbClr>
                </a:solidFill>
              </a:rPr>
              <a:t>Обувные товары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="" xmlns:a16="http://schemas.microsoft.com/office/drawing/2014/main" id="{D6C6966B-370A-4A2E-8B86-968697DB01D5}"/>
              </a:ext>
            </a:extLst>
          </p:cNvPr>
          <p:cNvSpPr/>
          <p:nvPr/>
        </p:nvSpPr>
        <p:spPr>
          <a:xfrm>
            <a:off x="8935588" y="3942933"/>
            <a:ext cx="288191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3" algn="ctr"/>
            <a:r>
              <a:rPr lang="ru-RU" sz="1600" b="1" dirty="0">
                <a:solidFill>
                  <a:srgbClr val="595959">
                    <a:lumMod val="100000"/>
                  </a:srgbClr>
                </a:solidFill>
              </a:rPr>
              <a:t>Лекарственные </a:t>
            </a:r>
            <a:r>
              <a:rPr lang="ru-RU" sz="1600" b="1" dirty="0" smtClean="0">
                <a:solidFill>
                  <a:srgbClr val="595959">
                    <a:lumMod val="100000"/>
                  </a:srgbClr>
                </a:solidFill>
              </a:rPr>
              <a:t>препараты</a:t>
            </a:r>
            <a:endParaRPr lang="ru-RU" sz="1600" b="1" dirty="0">
              <a:solidFill>
                <a:srgbClr val="595959">
                  <a:lumMod val="100000"/>
                </a:srgbClr>
              </a:solidFill>
            </a:endParaRPr>
          </a:p>
        </p:txBody>
      </p:sp>
      <p:pic>
        <p:nvPicPr>
          <p:cNvPr id="110600" name="Picture 8" descr="маркировка сигарет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2263" y="4449170"/>
            <a:ext cx="3289109" cy="2047163"/>
          </a:xfrm>
          <a:prstGeom prst="rect">
            <a:avLst/>
          </a:prstGeom>
          <a:noFill/>
        </p:spPr>
      </p:pic>
      <p:pic>
        <p:nvPicPr>
          <p:cNvPr id="33" name="Рисунок 32">
            <a:extLst>
              <a:ext uri="{FF2B5EF4-FFF2-40B4-BE49-F238E27FC236}">
                <a16:creationId xmlns="" xmlns:a16="http://schemas.microsoft.com/office/drawing/2014/main" id="{2928A382-F184-4137-9AC4-696B5955CFF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930" t="17748" r="5280" b="6803"/>
          <a:stretch/>
        </p:blipFill>
        <p:spPr>
          <a:xfrm>
            <a:off x="4343401" y="4476466"/>
            <a:ext cx="3490414" cy="2044077"/>
          </a:xfrm>
          <a:prstGeom prst="rect">
            <a:avLst/>
          </a:prstGeom>
        </p:spPr>
      </p:pic>
      <p:pic>
        <p:nvPicPr>
          <p:cNvPr id="110610" name="Picture 18" descr="http://i.mycdn.me/i?r=AzEPZsRbOZEKgBhR0XGMT1RkAtVrQ6RQBqNvcqmF-wMQqKaKTM5SRkZCeTgDn6uOyic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611738" y="4462818"/>
            <a:ext cx="3152632" cy="2224584"/>
          </a:xfrm>
          <a:prstGeom prst="rect">
            <a:avLst/>
          </a:prstGeom>
          <a:noFill/>
        </p:spPr>
      </p:pic>
      <p:pic>
        <p:nvPicPr>
          <p:cNvPr id="100353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18991" y="1676400"/>
            <a:ext cx="1105469" cy="941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972000"/>
          </a:xfrm>
          <a:solidFill>
            <a:schemeClr val="accent6">
              <a:lumMod val="60000"/>
              <a:lumOff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pPr algn="ctr"/>
            <a:r>
              <a:rPr lang="ru-RU" sz="2400" dirty="0" smtClean="0">
                <a:cs typeface="Times New Roman" pitchFamily="18" charset="0"/>
              </a:rPr>
              <a:t>Как подключиться к системе маркировки</a:t>
            </a:r>
            <a:endParaRPr lang="ru-RU" sz="2400" dirty="0">
              <a:cs typeface="Times New Roman" pitchFamily="18" charset="0"/>
            </a:endParaRPr>
          </a:p>
        </p:txBody>
      </p:sp>
      <p:pic>
        <p:nvPicPr>
          <p:cNvPr id="101377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41194" y="1419367"/>
            <a:ext cx="1269242" cy="887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Прямоугольник 5"/>
          <p:cNvSpPr/>
          <p:nvPr/>
        </p:nvSpPr>
        <p:spPr>
          <a:xfrm>
            <a:off x="2715905" y="1351129"/>
            <a:ext cx="8789158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Подать заявление на сайте Центра </a:t>
            </a:r>
            <a:r>
              <a:rPr lang="ru-RU" dirty="0"/>
              <a:t>развития перспективных </a:t>
            </a:r>
            <a:r>
              <a:rPr lang="ru-RU" dirty="0" smtClean="0"/>
              <a:t>технологий для регистрации в Единой национальной системе </a:t>
            </a:r>
            <a:r>
              <a:rPr lang="ru-RU" dirty="0"/>
              <a:t>цифровой маркировки и прослеживания товаров </a:t>
            </a:r>
            <a:r>
              <a:rPr lang="ru-RU" dirty="0" smtClean="0"/>
              <a:t>Честный ЗНАК. </a:t>
            </a:r>
          </a:p>
          <a:p>
            <a:r>
              <a:rPr lang="ru-RU" sz="1600" i="1" dirty="0" smtClean="0"/>
              <a:t>Необходимо </a:t>
            </a:r>
            <a:r>
              <a:rPr lang="ru-RU" sz="1600" i="1" dirty="0"/>
              <a:t>заполнить </a:t>
            </a:r>
            <a:r>
              <a:rPr lang="ru-RU" sz="1600" i="1" dirty="0" smtClean="0"/>
              <a:t>небольшую форму. Потребуется электронная цифровая подпись. Подключение к системе маркировки бесплатное. </a:t>
            </a:r>
            <a:endParaRPr lang="ru-RU" sz="1600" i="1" dirty="0"/>
          </a:p>
        </p:txBody>
      </p:sp>
      <p:pic>
        <p:nvPicPr>
          <p:cNvPr id="10035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491" y="2700693"/>
            <a:ext cx="1173706" cy="12521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Прямоугольник 6"/>
          <p:cNvSpPr/>
          <p:nvPr/>
        </p:nvSpPr>
        <p:spPr>
          <a:xfrm>
            <a:off x="2647667" y="2861786"/>
            <a:ext cx="858444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Подключить онлайн - кассу. Когда будут продаваться промаркированные товары, напрямую сообщать об этом оператору маркировки не понадобится. Данные </a:t>
            </a:r>
            <a:br>
              <a:rPr lang="ru-RU" dirty="0" smtClean="0"/>
            </a:br>
            <a:r>
              <a:rPr lang="ru-RU" dirty="0" smtClean="0"/>
              <a:t>о продаже автоматически отправятся в ОФД, а уже оттуда поступят в ЦРПТ. </a:t>
            </a:r>
            <a:endParaRPr lang="ru-RU" dirty="0"/>
          </a:p>
        </p:txBody>
      </p:sp>
      <p:pic>
        <p:nvPicPr>
          <p:cNvPr id="100355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491" y="4162567"/>
            <a:ext cx="1241946" cy="106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0356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5785" y="5500048"/>
            <a:ext cx="1255594" cy="10099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Прямоугольник 11"/>
          <p:cNvSpPr/>
          <p:nvPr/>
        </p:nvSpPr>
        <p:spPr>
          <a:xfrm>
            <a:off x="2620370" y="4162567"/>
            <a:ext cx="888469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Подключить сканер штрихкодов с функцией 2D-считывания, чтобы считывать двухмерные DataMatrix-коды при приемке и продаже товаров. </a:t>
            </a:r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2620370" y="5472751"/>
            <a:ext cx="933506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u="sng" dirty="0" smtClean="0"/>
              <a:t>Главное: </a:t>
            </a:r>
            <a:r>
              <a:rPr lang="ru-RU" dirty="0" smtClean="0"/>
              <a:t>обеспечить работу с кодами маркировки и сопровождающими электронными документами из СЭД в </a:t>
            </a:r>
            <a:r>
              <a:rPr lang="ru-RU" dirty="0" err="1" smtClean="0"/>
              <a:t>товароучетной</a:t>
            </a:r>
            <a:r>
              <a:rPr lang="ru-RU" dirty="0" smtClean="0"/>
              <a:t> системе и кассовой программе. Иначе не получится продавать маркированные товары. 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972000"/>
          </a:xfrm>
          <a:solidFill>
            <a:schemeClr val="accent6">
              <a:lumMod val="60000"/>
              <a:lumOff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pPr algn="ctr"/>
            <a:r>
              <a:rPr lang="bg-BG" sz="2400" dirty="0" smtClean="0">
                <a:cs typeface="Times New Roman" pitchFamily="18" charset="0"/>
              </a:rPr>
              <a:t>Общая схема работы системы маркировки </a:t>
            </a:r>
            <a:br>
              <a:rPr lang="bg-BG" sz="2400" dirty="0" smtClean="0">
                <a:cs typeface="Times New Roman" pitchFamily="18" charset="0"/>
              </a:rPr>
            </a:br>
            <a:r>
              <a:rPr lang="bg-BG" sz="2400" dirty="0" smtClean="0">
                <a:cs typeface="Times New Roman" pitchFamily="18" charset="0"/>
              </a:rPr>
              <a:t>и прослеживаемости</a:t>
            </a:r>
            <a:endParaRPr lang="ru-RU" sz="2400" dirty="0">
              <a:cs typeface="Times New Roman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15583" y="1743673"/>
            <a:ext cx="3720861" cy="55399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 xmlns="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bg-BG" b="1" u="sng" dirty="0">
                <a:solidFill>
                  <a:schemeClr val="tx1"/>
                </a:solidFill>
                <a:cs typeface="Times New Roman" pitchFamily="18" charset="0"/>
                <a:sym typeface="PT Sans Caption" panose="020B0603020203020204" pitchFamily="34" charset="0"/>
              </a:rPr>
              <a:t>Национальная система </a:t>
            </a:r>
            <a:r>
              <a:rPr lang="bg-BG" b="1" u="sng" dirty="0" smtClean="0">
                <a:solidFill>
                  <a:schemeClr val="tx1"/>
                </a:solidFill>
                <a:cs typeface="Times New Roman" pitchFamily="18" charset="0"/>
                <a:sym typeface="PT Sans Caption" panose="020B0603020203020204" pitchFamily="34" charset="0"/>
              </a:rPr>
              <a:t/>
            </a:r>
            <a:br>
              <a:rPr lang="bg-BG" b="1" u="sng" dirty="0" smtClean="0">
                <a:solidFill>
                  <a:schemeClr val="tx1"/>
                </a:solidFill>
                <a:cs typeface="Times New Roman" pitchFamily="18" charset="0"/>
                <a:sym typeface="PT Sans Caption" panose="020B0603020203020204" pitchFamily="34" charset="0"/>
              </a:rPr>
            </a:br>
            <a:r>
              <a:rPr lang="bg-BG" b="1" u="sng" dirty="0" smtClean="0">
                <a:solidFill>
                  <a:schemeClr val="tx1"/>
                </a:solidFill>
                <a:cs typeface="Times New Roman" pitchFamily="18" charset="0"/>
                <a:sym typeface="PT Sans Caption" panose="020B0603020203020204" pitchFamily="34" charset="0"/>
              </a:rPr>
              <a:t>цифровой маркировки</a:t>
            </a:r>
            <a:endParaRPr lang="bg-BG" b="1" u="sng" dirty="0">
              <a:solidFill>
                <a:schemeClr val="tx1"/>
              </a:solidFill>
              <a:cs typeface="Times New Roman" pitchFamily="18" charset="0"/>
              <a:sym typeface="PT Sans Caption" panose="020B0603020203020204" pitchFamily="34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6136A998-5EA4-4862-97E4-04B30B4768EA}"/>
              </a:ext>
            </a:extLst>
          </p:cNvPr>
          <p:cNvSpPr/>
          <p:nvPr/>
        </p:nvSpPr>
        <p:spPr>
          <a:xfrm>
            <a:off x="724297" y="2604226"/>
            <a:ext cx="382772" cy="3273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1.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337481" y="2623874"/>
            <a:ext cx="242930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bg-BG" sz="1400" dirty="0">
                <a:cs typeface="Times New Roman" pitchFamily="18" charset="0"/>
                <a:sym typeface="PT Sans Caption" panose="020B0603020203020204" pitchFamily="34" charset="0"/>
              </a:rPr>
              <a:t>Производитель наносит цифровой код на товар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6136A998-5EA4-4862-97E4-04B30B4768EA}"/>
              </a:ext>
            </a:extLst>
          </p:cNvPr>
          <p:cNvSpPr/>
          <p:nvPr/>
        </p:nvSpPr>
        <p:spPr>
          <a:xfrm>
            <a:off x="724297" y="3252899"/>
            <a:ext cx="382772" cy="3273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2.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345028" y="3249041"/>
            <a:ext cx="2353668" cy="4308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bg-BG" sz="1400" dirty="0">
                <a:cs typeface="Times New Roman" pitchFamily="18" charset="0"/>
                <a:sym typeface="PT Sans Caption" panose="020B0603020203020204" pitchFamily="34" charset="0"/>
              </a:rPr>
              <a:t>Весь путь товара фиксируется на каждом этапе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6136A998-5EA4-4862-97E4-04B30B4768EA}"/>
              </a:ext>
            </a:extLst>
          </p:cNvPr>
          <p:cNvSpPr/>
          <p:nvPr/>
        </p:nvSpPr>
        <p:spPr>
          <a:xfrm>
            <a:off x="724297" y="3966359"/>
            <a:ext cx="382772" cy="3273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3.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345028" y="3966359"/>
            <a:ext cx="2651619" cy="4308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bg-BG" sz="1400" dirty="0">
                <a:cs typeface="Times New Roman" pitchFamily="18" charset="0"/>
                <a:sym typeface="PT Sans Caption" panose="020B0603020203020204" pitchFamily="34" charset="0"/>
              </a:rPr>
              <a:t>В магазине сканируют код товара и размещают его на полке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6136A998-5EA4-4862-97E4-04B30B4768EA}"/>
              </a:ext>
            </a:extLst>
          </p:cNvPr>
          <p:cNvSpPr/>
          <p:nvPr/>
        </p:nvSpPr>
        <p:spPr>
          <a:xfrm>
            <a:off x="724297" y="4661735"/>
            <a:ext cx="382772" cy="3273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4.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345028" y="4661735"/>
            <a:ext cx="3021489" cy="4308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bg-BG" sz="1400" dirty="0">
                <a:cs typeface="Times New Roman" pitchFamily="18" charset="0"/>
                <a:sym typeface="PT Sans Caption" panose="020B0603020203020204" pitchFamily="34" charset="0"/>
              </a:rPr>
              <a:t>Товар продали на кассе </a:t>
            </a:r>
          </a:p>
          <a:p>
            <a:r>
              <a:rPr lang="bg-BG" sz="1400" dirty="0">
                <a:cs typeface="Times New Roman" pitchFamily="18" charset="0"/>
                <a:sym typeface="PT Sans Caption" panose="020B0603020203020204" pitchFamily="34" charset="0"/>
              </a:rPr>
              <a:t>в системе </a:t>
            </a:r>
            <a:r>
              <a:rPr lang="ru-RU" sz="1400" dirty="0"/>
              <a:t>«</a:t>
            </a:r>
            <a:r>
              <a:rPr lang="bg-BG" sz="1400" dirty="0" smtClean="0">
                <a:cs typeface="Times New Roman" pitchFamily="18" charset="0"/>
                <a:sym typeface="PT Sans Caption" panose="020B0603020203020204" pitchFamily="34" charset="0"/>
              </a:rPr>
              <a:t>код </a:t>
            </a:r>
            <a:r>
              <a:rPr lang="bg-BG" sz="1400" dirty="0">
                <a:cs typeface="Times New Roman" pitchFamily="18" charset="0"/>
                <a:sym typeface="PT Sans Caption" panose="020B0603020203020204" pitchFamily="34" charset="0"/>
              </a:rPr>
              <a:t>вышел из </a:t>
            </a:r>
            <a:r>
              <a:rPr lang="bg-BG" sz="1400" dirty="0" smtClean="0">
                <a:cs typeface="Times New Roman" pitchFamily="18" charset="0"/>
                <a:sym typeface="PT Sans Caption" panose="020B0603020203020204" pitchFamily="34" charset="0"/>
              </a:rPr>
              <a:t>оборота</a:t>
            </a:r>
            <a:r>
              <a:rPr lang="ru-RU" sz="1400" dirty="0"/>
              <a:t>»</a:t>
            </a:r>
            <a:endParaRPr lang="bg-BG" sz="1400" dirty="0">
              <a:cs typeface="Times New Roman" pitchFamily="18" charset="0"/>
              <a:sym typeface="PT Sans Caption" panose="020B0603020203020204" pitchFamily="34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="" xmlns:a16="http://schemas.microsoft.com/office/drawing/2014/main" id="{6136A998-5EA4-4862-97E4-04B30B4768EA}"/>
              </a:ext>
            </a:extLst>
          </p:cNvPr>
          <p:cNvSpPr/>
          <p:nvPr/>
        </p:nvSpPr>
        <p:spPr>
          <a:xfrm>
            <a:off x="722587" y="5361913"/>
            <a:ext cx="382772" cy="3273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5.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345027" y="5363491"/>
            <a:ext cx="2813315" cy="64633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lvl="0">
              <a:defRPr/>
            </a:pPr>
            <a:r>
              <a:rPr lang="bg-BG" sz="1400" dirty="0">
                <a:cs typeface="Times New Roman" pitchFamily="18" charset="0"/>
                <a:sym typeface="PT Sans Caption" panose="020B0603020203020204" pitchFamily="34" charset="0"/>
              </a:rPr>
              <a:t>Вся правда о товаре в мобильном приложении. Вовлечение потребителя и геймификация</a:t>
            </a:r>
          </a:p>
        </p:txBody>
      </p:sp>
      <p:pic>
        <p:nvPicPr>
          <p:cNvPr id="14" name="Picture 19" descr="G:\Реваз\Исходники\Брошюра Маркировка\логотипы\schem1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01960" y="1581543"/>
            <a:ext cx="6971528" cy="473706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p0fUDq7bFNwszt6wuPg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BCG Grid 16:9">
  <a:themeElements>
    <a:clrScheme name="moscow scheme">
      <a:dk1>
        <a:srgbClr val="595959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Custom 1">
      <a:majorFont>
        <a:latin typeface="PT Sans Caption"/>
        <a:ea typeface=""/>
        <a:cs typeface=""/>
      </a:majorFont>
      <a:minorFont>
        <a:latin typeface="PT Sans Caption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595959"/>
        </a:solidFill>
        <a:ln w="9525" cap="rnd" cmpd="sng" algn="ctr">
          <a:solidFill>
            <a:srgbClr val="595959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 xmlns="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95959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=""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F02C2073B0FE214C8FDEA79FBF3E7596" ma:contentTypeVersion="9" ma:contentTypeDescription="Создание документа." ma:contentTypeScope="" ma:versionID="ac4ad9ad56610e84de2b06dbe7d77072">
  <xsd:schema xmlns:xsd="http://www.w3.org/2001/XMLSchema" xmlns:xs="http://www.w3.org/2001/XMLSchema" xmlns:p="http://schemas.microsoft.com/office/2006/metadata/properties" xmlns:ns3="6243c724-3450-4e3b-813f-6ea6afeac519" xmlns:ns4="322e0c74-99e3-469a-8fa8-9a54623058f3" targetNamespace="http://schemas.microsoft.com/office/2006/metadata/properties" ma:root="true" ma:fieldsID="74a2f083be4ac4039bc8d48b9cbbbcf4" ns3:_="" ns4:_="">
    <xsd:import namespace="6243c724-3450-4e3b-813f-6ea6afeac519"/>
    <xsd:import namespace="322e0c74-99e3-469a-8fa8-9a54623058f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43c724-3450-4e3b-813f-6ea6afeac5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2e0c74-99e3-469a-8fa8-9a54623058f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Хэш подсказки о совместном доступе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70255BC-DD1A-4BB0-86DD-5522C52710A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C0C3520-BA90-4FF7-846E-09FA841809A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243c724-3450-4e3b-813f-6ea6afeac519"/>
    <ds:schemaRef ds:uri="322e0c74-99e3-469a-8fa8-9a54623058f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8F2356F-2355-41B2-8D7A-DD7975C2D5D0}">
  <ds:schemaRefs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6243c724-3450-4e3b-813f-6ea6afeac519"/>
    <ds:schemaRef ds:uri="322e0c74-99e3-469a-8fa8-9a54623058f3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001</TotalTime>
  <Words>366</Words>
  <Application>Microsoft Office PowerPoint</Application>
  <PresentationFormat>Произвольный</PresentationFormat>
  <Paragraphs>82</Paragraphs>
  <Slides>5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5" baseType="lpstr">
      <vt:lpstr>Arial</vt:lpstr>
      <vt:lpstr>Calibri</vt:lpstr>
      <vt:lpstr>PT Sans Caption</vt:lpstr>
      <vt:lpstr>Times New Roman</vt:lpstr>
      <vt:lpstr>Calibri Light</vt:lpstr>
      <vt:lpstr>Trebuchet MS</vt:lpstr>
      <vt:lpstr>PT Mono</vt:lpstr>
      <vt:lpstr>Тема Office</vt:lpstr>
      <vt:lpstr>2_BCG Grid 16:9</vt:lpstr>
      <vt:lpstr>Слайд think-cell</vt:lpstr>
      <vt:lpstr>Перечень товарных групп,  подлежащих обязательной маркировке в Российской Федерации</vt:lpstr>
      <vt:lpstr>Переходный период на новые правила маркировки в Российской Федерации</vt:lpstr>
      <vt:lpstr>Применяемые средства идентификации</vt:lpstr>
      <vt:lpstr>Как подключиться к системе маркировки</vt:lpstr>
      <vt:lpstr>Общая схема работы системы маркировки  и прослеживаемости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Цифровая маркировка товаров в Российской Федерации</dc:title>
  <dc:creator>Ширнина Дарья</dc:creator>
  <cp:lastModifiedBy>rygalova</cp:lastModifiedBy>
  <cp:revision>159</cp:revision>
  <cp:lastPrinted>2019-09-19T11:50:25Z</cp:lastPrinted>
  <dcterms:created xsi:type="dcterms:W3CDTF">2019-05-29T07:47:56Z</dcterms:created>
  <dcterms:modified xsi:type="dcterms:W3CDTF">2019-12-19T08:12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02C2073B0FE214C8FDEA79FBF3E7596</vt:lpwstr>
  </property>
</Properties>
</file>